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772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968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56">
            <a:extLst>
              <a:ext uri="{FF2B5EF4-FFF2-40B4-BE49-F238E27FC236}">
                <a16:creationId xmlns:a16="http://schemas.microsoft.com/office/drawing/2014/main" id="{3C9DB8A4-97D0-4570-BA5E-D579B3E9D2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</p:spPr>
        <p:txBody>
          <a:bodyPr>
            <a:normAutofit fontScale="90000"/>
          </a:bodyPr>
          <a:lstStyle/>
          <a:p>
            <a:r>
              <a:rPr lang="en-US" dirty="0"/>
              <a:t>Map United States of America</a:t>
            </a:r>
            <a:br>
              <a:rPr lang="en-US" dirty="0"/>
            </a:br>
            <a:r>
              <a:rPr lang="en-US" dirty="0"/>
              <a:t>USA</a:t>
            </a:r>
          </a:p>
        </p:txBody>
      </p:sp>
      <p:grpSp>
        <p:nvGrpSpPr>
          <p:cNvPr id="4" name="Group">
            <a:extLst>
              <a:ext uri="{FF2B5EF4-FFF2-40B4-BE49-F238E27FC236}">
                <a16:creationId xmlns:a16="http://schemas.microsoft.com/office/drawing/2014/main" id="{FE436CE9-FF2C-442F-AC65-5AA41C1ABC11}"/>
              </a:ext>
            </a:extLst>
          </p:cNvPr>
          <p:cNvGrpSpPr/>
          <p:nvPr/>
        </p:nvGrpSpPr>
        <p:grpSpPr>
          <a:xfrm>
            <a:off x="1658438" y="999371"/>
            <a:ext cx="8650972" cy="5402251"/>
            <a:chOff x="0" y="0"/>
            <a:chExt cx="17301940" cy="10804498"/>
          </a:xfrm>
        </p:grpSpPr>
        <p:sp>
          <p:nvSpPr>
            <p:cNvPr id="64" name="Shape">
              <a:extLst>
                <a:ext uri="{FF2B5EF4-FFF2-40B4-BE49-F238E27FC236}">
                  <a16:creationId xmlns:a16="http://schemas.microsoft.com/office/drawing/2014/main" id="{78EBF4A8-3A73-4D6D-8450-87208B97E939}"/>
                </a:ext>
              </a:extLst>
            </p:cNvPr>
            <p:cNvSpPr/>
            <p:nvPr/>
          </p:nvSpPr>
          <p:spPr>
            <a:xfrm>
              <a:off x="1275532" y="0"/>
              <a:ext cx="2277230" cy="15436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425"/>
                  </a:moveTo>
                  <a:lnTo>
                    <a:pt x="18158" y="21600"/>
                  </a:lnTo>
                  <a:lnTo>
                    <a:pt x="13118" y="19486"/>
                  </a:lnTo>
                  <a:cubicBezTo>
                    <a:pt x="12954" y="19361"/>
                    <a:pt x="12774" y="19293"/>
                    <a:pt x="12590" y="19288"/>
                  </a:cubicBezTo>
                  <a:cubicBezTo>
                    <a:pt x="12376" y="19281"/>
                    <a:pt x="12164" y="19359"/>
                    <a:pt x="11977" y="19513"/>
                  </a:cubicBezTo>
                  <a:lnTo>
                    <a:pt x="11424" y="19538"/>
                  </a:lnTo>
                  <a:lnTo>
                    <a:pt x="10607" y="19649"/>
                  </a:lnTo>
                  <a:lnTo>
                    <a:pt x="9431" y="19543"/>
                  </a:lnTo>
                  <a:lnTo>
                    <a:pt x="8311" y="19285"/>
                  </a:lnTo>
                  <a:lnTo>
                    <a:pt x="7638" y="19089"/>
                  </a:lnTo>
                  <a:lnTo>
                    <a:pt x="6996" y="19154"/>
                  </a:lnTo>
                  <a:lnTo>
                    <a:pt x="6324" y="18662"/>
                  </a:lnTo>
                  <a:lnTo>
                    <a:pt x="6092" y="18145"/>
                  </a:lnTo>
                  <a:lnTo>
                    <a:pt x="5589" y="18145"/>
                  </a:lnTo>
                  <a:cubicBezTo>
                    <a:pt x="5445" y="18206"/>
                    <a:pt x="5296" y="18240"/>
                    <a:pt x="5146" y="18244"/>
                  </a:cubicBezTo>
                  <a:cubicBezTo>
                    <a:pt x="4853" y="18254"/>
                    <a:pt x="4563" y="18155"/>
                    <a:pt x="4302" y="17957"/>
                  </a:cubicBezTo>
                  <a:lnTo>
                    <a:pt x="3452" y="17416"/>
                  </a:lnTo>
                  <a:lnTo>
                    <a:pt x="3130" y="16899"/>
                  </a:lnTo>
                  <a:lnTo>
                    <a:pt x="3350" y="16007"/>
                  </a:lnTo>
                  <a:lnTo>
                    <a:pt x="3093" y="15381"/>
                  </a:lnTo>
                  <a:lnTo>
                    <a:pt x="3168" y="14674"/>
                  </a:lnTo>
                  <a:lnTo>
                    <a:pt x="2777" y="13937"/>
                  </a:lnTo>
                  <a:lnTo>
                    <a:pt x="1812" y="13075"/>
                  </a:lnTo>
                  <a:lnTo>
                    <a:pt x="1004" y="12251"/>
                  </a:lnTo>
                  <a:lnTo>
                    <a:pt x="370" y="12313"/>
                  </a:lnTo>
                  <a:lnTo>
                    <a:pt x="0" y="11881"/>
                  </a:lnTo>
                  <a:lnTo>
                    <a:pt x="199" y="10874"/>
                  </a:lnTo>
                  <a:cubicBezTo>
                    <a:pt x="173" y="10722"/>
                    <a:pt x="147" y="10571"/>
                    <a:pt x="121" y="10419"/>
                  </a:cubicBezTo>
                  <a:cubicBezTo>
                    <a:pt x="96" y="10267"/>
                    <a:pt x="70" y="10115"/>
                    <a:pt x="44" y="9963"/>
                  </a:cubicBezTo>
                  <a:lnTo>
                    <a:pt x="42" y="9204"/>
                  </a:lnTo>
                  <a:lnTo>
                    <a:pt x="621" y="9378"/>
                  </a:lnTo>
                  <a:cubicBezTo>
                    <a:pt x="475" y="9627"/>
                    <a:pt x="408" y="9954"/>
                    <a:pt x="436" y="10280"/>
                  </a:cubicBezTo>
                  <a:cubicBezTo>
                    <a:pt x="462" y="10589"/>
                    <a:pt x="572" y="10869"/>
                    <a:pt x="741" y="11057"/>
                  </a:cubicBezTo>
                  <a:cubicBezTo>
                    <a:pt x="845" y="11034"/>
                    <a:pt x="946" y="10985"/>
                    <a:pt x="1040" y="10914"/>
                  </a:cubicBezTo>
                  <a:cubicBezTo>
                    <a:pt x="1154" y="10826"/>
                    <a:pt x="1256" y="10706"/>
                    <a:pt x="1338" y="10559"/>
                  </a:cubicBezTo>
                  <a:cubicBezTo>
                    <a:pt x="1428" y="10379"/>
                    <a:pt x="1469" y="10157"/>
                    <a:pt x="1454" y="9935"/>
                  </a:cubicBezTo>
                  <a:cubicBezTo>
                    <a:pt x="1437" y="9688"/>
                    <a:pt x="1352" y="9462"/>
                    <a:pt x="1219" y="9310"/>
                  </a:cubicBezTo>
                  <a:cubicBezTo>
                    <a:pt x="1319" y="9289"/>
                    <a:pt x="1419" y="9267"/>
                    <a:pt x="1520" y="9245"/>
                  </a:cubicBezTo>
                  <a:cubicBezTo>
                    <a:pt x="1620" y="9223"/>
                    <a:pt x="1721" y="9202"/>
                    <a:pt x="1821" y="9180"/>
                  </a:cubicBezTo>
                  <a:cubicBezTo>
                    <a:pt x="1763" y="8975"/>
                    <a:pt x="1672" y="8794"/>
                    <a:pt x="1556" y="8652"/>
                  </a:cubicBezTo>
                  <a:cubicBezTo>
                    <a:pt x="1415" y="8479"/>
                    <a:pt x="1244" y="8369"/>
                    <a:pt x="1062" y="8337"/>
                  </a:cubicBezTo>
                  <a:cubicBezTo>
                    <a:pt x="1100" y="8644"/>
                    <a:pt x="878" y="8879"/>
                    <a:pt x="693" y="8726"/>
                  </a:cubicBezTo>
                  <a:cubicBezTo>
                    <a:pt x="629" y="8673"/>
                    <a:pt x="589" y="8575"/>
                    <a:pt x="586" y="8467"/>
                  </a:cubicBezTo>
                  <a:lnTo>
                    <a:pt x="1156" y="7624"/>
                  </a:lnTo>
                  <a:lnTo>
                    <a:pt x="1288" y="6846"/>
                  </a:lnTo>
                  <a:lnTo>
                    <a:pt x="1506" y="5709"/>
                  </a:lnTo>
                  <a:lnTo>
                    <a:pt x="1506" y="4730"/>
                  </a:lnTo>
                  <a:lnTo>
                    <a:pt x="1727" y="3713"/>
                  </a:lnTo>
                  <a:lnTo>
                    <a:pt x="1418" y="3063"/>
                  </a:lnTo>
                  <a:lnTo>
                    <a:pt x="1124" y="2561"/>
                  </a:lnTo>
                  <a:lnTo>
                    <a:pt x="1401" y="1970"/>
                  </a:lnTo>
                  <a:lnTo>
                    <a:pt x="1650" y="1072"/>
                  </a:lnTo>
                  <a:lnTo>
                    <a:pt x="1650" y="68"/>
                  </a:lnTo>
                  <a:cubicBezTo>
                    <a:pt x="1739" y="427"/>
                    <a:pt x="1853" y="771"/>
                    <a:pt x="1992" y="1095"/>
                  </a:cubicBezTo>
                  <a:cubicBezTo>
                    <a:pt x="2153" y="1471"/>
                    <a:pt x="2344" y="1816"/>
                    <a:pt x="2562" y="2122"/>
                  </a:cubicBezTo>
                  <a:lnTo>
                    <a:pt x="3305" y="2508"/>
                  </a:lnTo>
                  <a:lnTo>
                    <a:pt x="3803" y="2982"/>
                  </a:lnTo>
                  <a:lnTo>
                    <a:pt x="4299" y="3256"/>
                  </a:lnTo>
                  <a:cubicBezTo>
                    <a:pt x="4434" y="3243"/>
                    <a:pt x="4569" y="3238"/>
                    <a:pt x="4704" y="3240"/>
                  </a:cubicBezTo>
                  <a:cubicBezTo>
                    <a:pt x="4867" y="3243"/>
                    <a:pt x="5031" y="3258"/>
                    <a:pt x="5193" y="3284"/>
                  </a:cubicBezTo>
                  <a:lnTo>
                    <a:pt x="5549" y="4121"/>
                  </a:lnTo>
                  <a:lnTo>
                    <a:pt x="5877" y="3308"/>
                  </a:lnTo>
                  <a:cubicBezTo>
                    <a:pt x="5845" y="3544"/>
                    <a:pt x="5846" y="3787"/>
                    <a:pt x="5881" y="4022"/>
                  </a:cubicBezTo>
                  <a:cubicBezTo>
                    <a:pt x="5920" y="4283"/>
                    <a:pt x="5999" y="4528"/>
                    <a:pt x="6113" y="4736"/>
                  </a:cubicBezTo>
                  <a:lnTo>
                    <a:pt x="6539" y="3879"/>
                  </a:lnTo>
                  <a:lnTo>
                    <a:pt x="5669" y="6109"/>
                  </a:lnTo>
                  <a:cubicBezTo>
                    <a:pt x="5769" y="5764"/>
                    <a:pt x="6032" y="5590"/>
                    <a:pt x="6273" y="5711"/>
                  </a:cubicBezTo>
                  <a:cubicBezTo>
                    <a:pt x="6384" y="5766"/>
                    <a:pt x="6476" y="5883"/>
                    <a:pt x="6530" y="6036"/>
                  </a:cubicBezTo>
                  <a:lnTo>
                    <a:pt x="6135" y="7121"/>
                  </a:lnTo>
                  <a:lnTo>
                    <a:pt x="5698" y="7766"/>
                  </a:lnTo>
                  <a:lnTo>
                    <a:pt x="5654" y="8821"/>
                  </a:lnTo>
                  <a:lnTo>
                    <a:pt x="6080" y="9343"/>
                  </a:lnTo>
                  <a:lnTo>
                    <a:pt x="6417" y="8612"/>
                  </a:lnTo>
                  <a:cubicBezTo>
                    <a:pt x="6357" y="8413"/>
                    <a:pt x="6335" y="8194"/>
                    <a:pt x="6352" y="7978"/>
                  </a:cubicBezTo>
                  <a:cubicBezTo>
                    <a:pt x="6376" y="7685"/>
                    <a:pt x="6470" y="7414"/>
                    <a:pt x="6618" y="7216"/>
                  </a:cubicBezTo>
                  <a:lnTo>
                    <a:pt x="6867" y="6721"/>
                  </a:lnTo>
                  <a:cubicBezTo>
                    <a:pt x="6831" y="6477"/>
                    <a:pt x="6899" y="6226"/>
                    <a:pt x="7039" y="6085"/>
                  </a:cubicBezTo>
                  <a:cubicBezTo>
                    <a:pt x="7166" y="5956"/>
                    <a:pt x="7332" y="5943"/>
                    <a:pt x="7468" y="6052"/>
                  </a:cubicBezTo>
                  <a:lnTo>
                    <a:pt x="7603" y="7026"/>
                  </a:lnTo>
                  <a:lnTo>
                    <a:pt x="7763" y="5225"/>
                  </a:lnTo>
                  <a:lnTo>
                    <a:pt x="7459" y="4540"/>
                  </a:lnTo>
                  <a:lnTo>
                    <a:pt x="7022" y="4496"/>
                  </a:lnTo>
                  <a:lnTo>
                    <a:pt x="7109" y="3588"/>
                  </a:lnTo>
                  <a:lnTo>
                    <a:pt x="7592" y="3177"/>
                  </a:lnTo>
                  <a:lnTo>
                    <a:pt x="7620" y="2723"/>
                  </a:lnTo>
                  <a:lnTo>
                    <a:pt x="7413" y="2225"/>
                  </a:lnTo>
                  <a:lnTo>
                    <a:pt x="8010" y="1687"/>
                  </a:lnTo>
                  <a:lnTo>
                    <a:pt x="7778" y="1325"/>
                  </a:lnTo>
                  <a:lnTo>
                    <a:pt x="7218" y="1844"/>
                  </a:lnTo>
                  <a:lnTo>
                    <a:pt x="7042" y="1501"/>
                  </a:lnTo>
                  <a:lnTo>
                    <a:pt x="7350" y="900"/>
                  </a:lnTo>
                  <a:lnTo>
                    <a:pt x="7350" y="424"/>
                  </a:lnTo>
                  <a:lnTo>
                    <a:pt x="7308" y="0"/>
                  </a:lnTo>
                  <a:lnTo>
                    <a:pt x="21600" y="5425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65" name="Shape">
              <a:extLst>
                <a:ext uri="{FF2B5EF4-FFF2-40B4-BE49-F238E27FC236}">
                  <a16:creationId xmlns:a16="http://schemas.microsoft.com/office/drawing/2014/main" id="{70BA9694-6FB8-4862-B67D-DF5C0871A5F6}"/>
                </a:ext>
              </a:extLst>
            </p:cNvPr>
            <p:cNvSpPr/>
            <p:nvPr/>
          </p:nvSpPr>
          <p:spPr>
            <a:xfrm>
              <a:off x="559453" y="903306"/>
              <a:ext cx="2757094" cy="22032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628" y="6272"/>
                  </a:moveTo>
                  <a:lnTo>
                    <a:pt x="16372" y="4666"/>
                  </a:lnTo>
                  <a:lnTo>
                    <a:pt x="15898" y="4527"/>
                  </a:lnTo>
                  <a:lnTo>
                    <a:pt x="15116" y="4785"/>
                  </a:lnTo>
                  <a:lnTo>
                    <a:pt x="14044" y="4769"/>
                  </a:lnTo>
                  <a:lnTo>
                    <a:pt x="13205" y="4634"/>
                  </a:lnTo>
                  <a:lnTo>
                    <a:pt x="12116" y="4407"/>
                  </a:lnTo>
                  <a:lnTo>
                    <a:pt x="11450" y="4454"/>
                  </a:lnTo>
                  <a:lnTo>
                    <a:pt x="10924" y="4141"/>
                  </a:lnTo>
                  <a:lnTo>
                    <a:pt x="10757" y="3669"/>
                  </a:lnTo>
                  <a:lnTo>
                    <a:pt x="10231" y="3647"/>
                  </a:lnTo>
                  <a:lnTo>
                    <a:pt x="9738" y="3808"/>
                  </a:lnTo>
                  <a:lnTo>
                    <a:pt x="8635" y="3307"/>
                  </a:lnTo>
                  <a:lnTo>
                    <a:pt x="8325" y="3034"/>
                  </a:lnTo>
                  <a:lnTo>
                    <a:pt x="8585" y="2277"/>
                  </a:lnTo>
                  <a:lnTo>
                    <a:pt x="8100" y="1453"/>
                  </a:lnTo>
                  <a:lnTo>
                    <a:pt x="7369" y="840"/>
                  </a:lnTo>
                  <a:lnTo>
                    <a:pt x="6565" y="490"/>
                  </a:lnTo>
                  <a:lnTo>
                    <a:pt x="5744" y="0"/>
                  </a:lnTo>
                  <a:lnTo>
                    <a:pt x="5425" y="208"/>
                  </a:lnTo>
                  <a:lnTo>
                    <a:pt x="5441" y="884"/>
                  </a:lnTo>
                  <a:lnTo>
                    <a:pt x="5278" y="1795"/>
                  </a:lnTo>
                  <a:lnTo>
                    <a:pt x="4864" y="2342"/>
                  </a:lnTo>
                  <a:lnTo>
                    <a:pt x="4614" y="2796"/>
                  </a:lnTo>
                  <a:lnTo>
                    <a:pt x="4618" y="3316"/>
                  </a:lnTo>
                  <a:lnTo>
                    <a:pt x="4393" y="3661"/>
                  </a:lnTo>
                  <a:lnTo>
                    <a:pt x="3986" y="4069"/>
                  </a:lnTo>
                  <a:lnTo>
                    <a:pt x="3761" y="5119"/>
                  </a:lnTo>
                  <a:lnTo>
                    <a:pt x="3507" y="5788"/>
                  </a:lnTo>
                  <a:lnTo>
                    <a:pt x="3214" y="6409"/>
                  </a:lnTo>
                  <a:lnTo>
                    <a:pt x="3404" y="6979"/>
                  </a:lnTo>
                  <a:lnTo>
                    <a:pt x="3171" y="7413"/>
                  </a:lnTo>
                  <a:lnTo>
                    <a:pt x="2907" y="7836"/>
                  </a:lnTo>
                  <a:lnTo>
                    <a:pt x="2713" y="8322"/>
                  </a:lnTo>
                  <a:lnTo>
                    <a:pt x="2280" y="8915"/>
                  </a:lnTo>
                  <a:lnTo>
                    <a:pt x="2131" y="9342"/>
                  </a:lnTo>
                  <a:lnTo>
                    <a:pt x="1774" y="9795"/>
                  </a:lnTo>
                  <a:lnTo>
                    <a:pt x="1550" y="10340"/>
                  </a:lnTo>
                  <a:lnTo>
                    <a:pt x="1410" y="11085"/>
                  </a:lnTo>
                  <a:lnTo>
                    <a:pt x="1244" y="11602"/>
                  </a:lnTo>
                  <a:lnTo>
                    <a:pt x="608" y="11647"/>
                  </a:lnTo>
                  <a:lnTo>
                    <a:pt x="0" y="11767"/>
                  </a:lnTo>
                  <a:lnTo>
                    <a:pt x="42" y="12354"/>
                  </a:lnTo>
                  <a:lnTo>
                    <a:pt x="317" y="13008"/>
                  </a:lnTo>
                  <a:lnTo>
                    <a:pt x="607" y="13736"/>
                  </a:lnTo>
                  <a:lnTo>
                    <a:pt x="534" y="14311"/>
                  </a:lnTo>
                  <a:lnTo>
                    <a:pt x="304" y="15097"/>
                  </a:lnTo>
                  <a:lnTo>
                    <a:pt x="543" y="15592"/>
                  </a:lnTo>
                  <a:lnTo>
                    <a:pt x="17713" y="21600"/>
                  </a:lnTo>
                  <a:lnTo>
                    <a:pt x="19347" y="14221"/>
                  </a:lnTo>
                  <a:lnTo>
                    <a:pt x="19251" y="13684"/>
                  </a:lnTo>
                  <a:lnTo>
                    <a:pt x="19372" y="12759"/>
                  </a:lnTo>
                  <a:lnTo>
                    <a:pt x="19806" y="12396"/>
                  </a:lnTo>
                  <a:lnTo>
                    <a:pt x="19953" y="11824"/>
                  </a:lnTo>
                  <a:lnTo>
                    <a:pt x="20233" y="10776"/>
                  </a:lnTo>
                  <a:lnTo>
                    <a:pt x="20440" y="9834"/>
                  </a:lnTo>
                  <a:lnTo>
                    <a:pt x="20887" y="9499"/>
                  </a:lnTo>
                  <a:lnTo>
                    <a:pt x="21419" y="9015"/>
                  </a:lnTo>
                  <a:lnTo>
                    <a:pt x="21600" y="8436"/>
                  </a:lnTo>
                  <a:lnTo>
                    <a:pt x="21286" y="7965"/>
                  </a:lnTo>
                  <a:lnTo>
                    <a:pt x="20974" y="7106"/>
                  </a:lnTo>
                  <a:lnTo>
                    <a:pt x="20628" y="6272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66" name="Shape">
              <a:extLst>
                <a:ext uri="{FF2B5EF4-FFF2-40B4-BE49-F238E27FC236}">
                  <a16:creationId xmlns:a16="http://schemas.microsoft.com/office/drawing/2014/main" id="{28583786-E133-4A5D-94EF-5875325AD652}"/>
                </a:ext>
              </a:extLst>
            </p:cNvPr>
            <p:cNvSpPr/>
            <p:nvPr/>
          </p:nvSpPr>
          <p:spPr>
            <a:xfrm>
              <a:off x="2803968" y="386534"/>
              <a:ext cx="1956442" cy="310362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1081" y="421"/>
                  </a:moveTo>
                  <a:lnTo>
                    <a:pt x="8090" y="0"/>
                  </a:lnTo>
                  <a:lnTo>
                    <a:pt x="4106" y="8069"/>
                  </a:lnTo>
                  <a:lnTo>
                    <a:pt x="5078" y="9207"/>
                  </a:lnTo>
                  <a:lnTo>
                    <a:pt x="5572" y="9678"/>
                  </a:lnTo>
                  <a:lnTo>
                    <a:pt x="5181" y="10043"/>
                  </a:lnTo>
                  <a:lnTo>
                    <a:pt x="3864" y="10520"/>
                  </a:lnTo>
                  <a:lnTo>
                    <a:pt x="2946" y="12367"/>
                  </a:lnTo>
                  <a:lnTo>
                    <a:pt x="2458" y="12560"/>
                  </a:lnTo>
                  <a:lnTo>
                    <a:pt x="2203" y="13249"/>
                  </a:lnTo>
                  <a:lnTo>
                    <a:pt x="2365" y="13830"/>
                  </a:lnTo>
                  <a:lnTo>
                    <a:pt x="0" y="18916"/>
                  </a:lnTo>
                  <a:cubicBezTo>
                    <a:pt x="3203" y="19472"/>
                    <a:pt x="6429" y="19976"/>
                    <a:pt x="9674" y="20427"/>
                  </a:cubicBezTo>
                  <a:cubicBezTo>
                    <a:pt x="12849" y="20869"/>
                    <a:pt x="16042" y="21260"/>
                    <a:pt x="19249" y="21600"/>
                  </a:cubicBezTo>
                  <a:lnTo>
                    <a:pt x="21600" y="14719"/>
                  </a:lnTo>
                  <a:lnTo>
                    <a:pt x="20883" y="14838"/>
                  </a:lnTo>
                  <a:lnTo>
                    <a:pt x="20370" y="14689"/>
                  </a:lnTo>
                  <a:lnTo>
                    <a:pt x="20044" y="14398"/>
                  </a:lnTo>
                  <a:lnTo>
                    <a:pt x="18871" y="14398"/>
                  </a:lnTo>
                  <a:lnTo>
                    <a:pt x="18212" y="14333"/>
                  </a:lnTo>
                  <a:lnTo>
                    <a:pt x="17836" y="14035"/>
                  </a:lnTo>
                  <a:lnTo>
                    <a:pt x="17081" y="14164"/>
                  </a:lnTo>
                  <a:lnTo>
                    <a:pt x="16160" y="14229"/>
                  </a:lnTo>
                  <a:lnTo>
                    <a:pt x="15407" y="13809"/>
                  </a:lnTo>
                  <a:lnTo>
                    <a:pt x="14851" y="13520"/>
                  </a:lnTo>
                  <a:lnTo>
                    <a:pt x="14493" y="12984"/>
                  </a:lnTo>
                  <a:lnTo>
                    <a:pt x="14201" y="12597"/>
                  </a:lnTo>
                  <a:lnTo>
                    <a:pt x="13656" y="12140"/>
                  </a:lnTo>
                  <a:lnTo>
                    <a:pt x="13450" y="11353"/>
                  </a:lnTo>
                  <a:lnTo>
                    <a:pt x="13399" y="10729"/>
                  </a:lnTo>
                  <a:lnTo>
                    <a:pt x="13072" y="10459"/>
                  </a:lnTo>
                  <a:lnTo>
                    <a:pt x="13225" y="10118"/>
                  </a:lnTo>
                  <a:lnTo>
                    <a:pt x="13019" y="9743"/>
                  </a:lnTo>
                  <a:lnTo>
                    <a:pt x="12577" y="10000"/>
                  </a:lnTo>
                  <a:lnTo>
                    <a:pt x="12064" y="10150"/>
                  </a:lnTo>
                  <a:lnTo>
                    <a:pt x="12012" y="9754"/>
                  </a:lnTo>
                  <a:lnTo>
                    <a:pt x="12205" y="9056"/>
                  </a:lnTo>
                  <a:lnTo>
                    <a:pt x="12617" y="8517"/>
                  </a:lnTo>
                  <a:lnTo>
                    <a:pt x="13199" y="8111"/>
                  </a:lnTo>
                  <a:lnTo>
                    <a:pt x="13553" y="7596"/>
                  </a:lnTo>
                  <a:lnTo>
                    <a:pt x="13113" y="7350"/>
                  </a:lnTo>
                  <a:lnTo>
                    <a:pt x="12650" y="7026"/>
                  </a:lnTo>
                  <a:lnTo>
                    <a:pt x="13145" y="6417"/>
                  </a:lnTo>
                  <a:lnTo>
                    <a:pt x="12581" y="6031"/>
                  </a:lnTo>
                  <a:lnTo>
                    <a:pt x="12223" y="5545"/>
                  </a:lnTo>
                  <a:lnTo>
                    <a:pt x="12326" y="5255"/>
                  </a:lnTo>
                  <a:lnTo>
                    <a:pt x="11881" y="4686"/>
                  </a:lnTo>
                  <a:lnTo>
                    <a:pt x="11079" y="4588"/>
                  </a:lnTo>
                  <a:lnTo>
                    <a:pt x="10924" y="4172"/>
                  </a:lnTo>
                  <a:lnTo>
                    <a:pt x="10772" y="3689"/>
                  </a:lnTo>
                  <a:lnTo>
                    <a:pt x="10124" y="2738"/>
                  </a:lnTo>
                  <a:lnTo>
                    <a:pt x="10362" y="1995"/>
                  </a:lnTo>
                  <a:lnTo>
                    <a:pt x="11081" y="421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67" name="Shape">
              <a:extLst>
                <a:ext uri="{FF2B5EF4-FFF2-40B4-BE49-F238E27FC236}">
                  <a16:creationId xmlns:a16="http://schemas.microsoft.com/office/drawing/2014/main" id="{A8BEC9D4-62BA-4E1E-BC9D-CD2E783865AC}"/>
                </a:ext>
              </a:extLst>
            </p:cNvPr>
            <p:cNvSpPr/>
            <p:nvPr/>
          </p:nvSpPr>
          <p:spPr>
            <a:xfrm>
              <a:off x="3710683" y="445512"/>
              <a:ext cx="3233976" cy="21515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5496"/>
                  </a:moveTo>
                  <a:lnTo>
                    <a:pt x="20227" y="21600"/>
                  </a:lnTo>
                  <a:lnTo>
                    <a:pt x="7314" y="18640"/>
                  </a:lnTo>
                  <a:lnTo>
                    <a:pt x="6940" y="20905"/>
                  </a:lnTo>
                  <a:lnTo>
                    <a:pt x="6646" y="21028"/>
                  </a:lnTo>
                  <a:lnTo>
                    <a:pt x="6233" y="20749"/>
                  </a:lnTo>
                  <a:lnTo>
                    <a:pt x="6022" y="20312"/>
                  </a:lnTo>
                  <a:lnTo>
                    <a:pt x="4981" y="20219"/>
                  </a:lnTo>
                  <a:lnTo>
                    <a:pt x="4651" y="19816"/>
                  </a:lnTo>
                  <a:lnTo>
                    <a:pt x="3760" y="20033"/>
                  </a:lnTo>
                  <a:lnTo>
                    <a:pt x="2795" y="18989"/>
                  </a:lnTo>
                  <a:lnTo>
                    <a:pt x="2138" y="16931"/>
                  </a:lnTo>
                  <a:lnTo>
                    <a:pt x="1977" y="14961"/>
                  </a:lnTo>
                  <a:lnTo>
                    <a:pt x="1763" y="14515"/>
                  </a:lnTo>
                  <a:lnTo>
                    <a:pt x="1892" y="13927"/>
                  </a:lnTo>
                  <a:lnTo>
                    <a:pt x="1137" y="14171"/>
                  </a:lnTo>
                  <a:lnTo>
                    <a:pt x="1110" y="13100"/>
                  </a:lnTo>
                  <a:lnTo>
                    <a:pt x="1382" y="11798"/>
                  </a:lnTo>
                  <a:lnTo>
                    <a:pt x="2114" y="10446"/>
                  </a:lnTo>
                  <a:lnTo>
                    <a:pt x="1567" y="9716"/>
                  </a:lnTo>
                  <a:lnTo>
                    <a:pt x="1544" y="9273"/>
                  </a:lnTo>
                  <a:lnTo>
                    <a:pt x="1845" y="8574"/>
                  </a:lnTo>
                  <a:lnTo>
                    <a:pt x="1423" y="7802"/>
                  </a:lnTo>
                  <a:lnTo>
                    <a:pt x="1247" y="7259"/>
                  </a:lnTo>
                  <a:lnTo>
                    <a:pt x="1128" y="6317"/>
                  </a:lnTo>
                  <a:lnTo>
                    <a:pt x="606" y="6178"/>
                  </a:lnTo>
                  <a:lnTo>
                    <a:pt x="348" y="4554"/>
                  </a:lnTo>
                  <a:lnTo>
                    <a:pt x="0" y="3324"/>
                  </a:lnTo>
                  <a:lnTo>
                    <a:pt x="611" y="0"/>
                  </a:lnTo>
                  <a:cubicBezTo>
                    <a:pt x="4085" y="1130"/>
                    <a:pt x="7573" y="2153"/>
                    <a:pt x="11074" y="3070"/>
                  </a:cubicBezTo>
                  <a:cubicBezTo>
                    <a:pt x="14572" y="3986"/>
                    <a:pt x="18081" y="4795"/>
                    <a:pt x="21600" y="5496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68" name="Shape">
              <a:extLst>
                <a:ext uri="{FF2B5EF4-FFF2-40B4-BE49-F238E27FC236}">
                  <a16:creationId xmlns:a16="http://schemas.microsoft.com/office/drawing/2014/main" id="{7EAF7A29-E887-4E75-9331-451CFA4C0DC0}"/>
                </a:ext>
              </a:extLst>
            </p:cNvPr>
            <p:cNvSpPr/>
            <p:nvPr/>
          </p:nvSpPr>
          <p:spPr>
            <a:xfrm>
              <a:off x="6766575" y="989227"/>
              <a:ext cx="2147866" cy="13413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146" y="1928"/>
                  </a:moveTo>
                  <a:cubicBezTo>
                    <a:pt x="17058" y="1835"/>
                    <a:pt x="13971" y="1629"/>
                    <a:pt x="10888" y="1308"/>
                  </a:cubicBezTo>
                  <a:cubicBezTo>
                    <a:pt x="7796" y="987"/>
                    <a:pt x="4709" y="550"/>
                    <a:pt x="1630" y="0"/>
                  </a:cubicBezTo>
                  <a:lnTo>
                    <a:pt x="0" y="19701"/>
                  </a:lnTo>
                  <a:cubicBezTo>
                    <a:pt x="3625" y="20161"/>
                    <a:pt x="7253" y="20551"/>
                    <a:pt x="10884" y="20870"/>
                  </a:cubicBezTo>
                  <a:cubicBezTo>
                    <a:pt x="14419" y="21180"/>
                    <a:pt x="17956" y="21424"/>
                    <a:pt x="21494" y="21600"/>
                  </a:cubicBezTo>
                  <a:lnTo>
                    <a:pt x="21455" y="19030"/>
                  </a:lnTo>
                  <a:lnTo>
                    <a:pt x="21600" y="17115"/>
                  </a:lnTo>
                  <a:lnTo>
                    <a:pt x="21272" y="15515"/>
                  </a:lnTo>
                  <a:lnTo>
                    <a:pt x="21039" y="13218"/>
                  </a:lnTo>
                  <a:lnTo>
                    <a:pt x="20777" y="9149"/>
                  </a:lnTo>
                  <a:lnTo>
                    <a:pt x="20511" y="8053"/>
                  </a:lnTo>
                  <a:lnTo>
                    <a:pt x="20058" y="7133"/>
                  </a:lnTo>
                  <a:lnTo>
                    <a:pt x="20371" y="6335"/>
                  </a:lnTo>
                  <a:lnTo>
                    <a:pt x="20230" y="5543"/>
                  </a:lnTo>
                  <a:lnTo>
                    <a:pt x="19872" y="5142"/>
                  </a:lnTo>
                  <a:lnTo>
                    <a:pt x="20009" y="4478"/>
                  </a:lnTo>
                  <a:lnTo>
                    <a:pt x="19837" y="3830"/>
                  </a:lnTo>
                  <a:lnTo>
                    <a:pt x="20146" y="1928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69" name="Shape">
              <a:extLst>
                <a:ext uri="{FF2B5EF4-FFF2-40B4-BE49-F238E27FC236}">
                  <a16:creationId xmlns:a16="http://schemas.microsoft.com/office/drawing/2014/main" id="{CB89F57F-7E27-4BE9-9FA7-865A46FD68EA}"/>
                </a:ext>
              </a:extLst>
            </p:cNvPr>
            <p:cNvSpPr/>
            <p:nvPr/>
          </p:nvSpPr>
          <p:spPr>
            <a:xfrm>
              <a:off x="8719531" y="1102436"/>
              <a:ext cx="2125515" cy="22395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461" y="21600"/>
                  </a:moveTo>
                  <a:lnTo>
                    <a:pt x="1906" y="21540"/>
                  </a:lnTo>
                  <a:lnTo>
                    <a:pt x="2014" y="14253"/>
                  </a:lnTo>
                  <a:lnTo>
                    <a:pt x="1841" y="13448"/>
                  </a:lnTo>
                  <a:lnTo>
                    <a:pt x="1903" y="11699"/>
                  </a:lnTo>
                  <a:lnTo>
                    <a:pt x="1730" y="10455"/>
                  </a:lnTo>
                  <a:lnTo>
                    <a:pt x="1874" y="9105"/>
                  </a:lnTo>
                  <a:lnTo>
                    <a:pt x="1509" y="7902"/>
                  </a:lnTo>
                  <a:lnTo>
                    <a:pt x="1084" y="4760"/>
                  </a:lnTo>
                  <a:lnTo>
                    <a:pt x="584" y="3495"/>
                  </a:lnTo>
                  <a:lnTo>
                    <a:pt x="208" y="3194"/>
                  </a:lnTo>
                  <a:lnTo>
                    <a:pt x="542" y="2698"/>
                  </a:lnTo>
                  <a:lnTo>
                    <a:pt x="328" y="2279"/>
                  </a:lnTo>
                  <a:lnTo>
                    <a:pt x="0" y="1992"/>
                  </a:lnTo>
                  <a:lnTo>
                    <a:pt x="281" y="1549"/>
                  </a:lnTo>
                  <a:lnTo>
                    <a:pt x="22" y="1138"/>
                  </a:lnTo>
                  <a:lnTo>
                    <a:pt x="443" y="4"/>
                  </a:lnTo>
                  <a:lnTo>
                    <a:pt x="5380" y="0"/>
                  </a:lnTo>
                  <a:lnTo>
                    <a:pt x="6141" y="1007"/>
                  </a:lnTo>
                  <a:lnTo>
                    <a:pt x="6311" y="398"/>
                  </a:lnTo>
                  <a:lnTo>
                    <a:pt x="6929" y="788"/>
                  </a:lnTo>
                  <a:lnTo>
                    <a:pt x="7543" y="1474"/>
                  </a:lnTo>
                  <a:lnTo>
                    <a:pt x="8732" y="1474"/>
                  </a:lnTo>
                  <a:lnTo>
                    <a:pt x="9473" y="1699"/>
                  </a:lnTo>
                  <a:lnTo>
                    <a:pt x="10119" y="1817"/>
                  </a:lnTo>
                  <a:lnTo>
                    <a:pt x="10845" y="1892"/>
                  </a:lnTo>
                  <a:lnTo>
                    <a:pt x="11691" y="2250"/>
                  </a:lnTo>
                  <a:lnTo>
                    <a:pt x="12287" y="2372"/>
                  </a:lnTo>
                  <a:cubicBezTo>
                    <a:pt x="12347" y="2261"/>
                    <a:pt x="12406" y="2150"/>
                    <a:pt x="12466" y="2039"/>
                  </a:cubicBezTo>
                  <a:cubicBezTo>
                    <a:pt x="12526" y="1928"/>
                    <a:pt x="12585" y="1817"/>
                    <a:pt x="12645" y="1706"/>
                  </a:cubicBezTo>
                  <a:lnTo>
                    <a:pt x="13162" y="1858"/>
                  </a:lnTo>
                  <a:lnTo>
                    <a:pt x="13162" y="2646"/>
                  </a:lnTo>
                  <a:cubicBezTo>
                    <a:pt x="13110" y="2717"/>
                    <a:pt x="13058" y="2789"/>
                    <a:pt x="13006" y="2861"/>
                  </a:cubicBezTo>
                  <a:cubicBezTo>
                    <a:pt x="12954" y="2933"/>
                    <a:pt x="12902" y="3005"/>
                    <a:pt x="12850" y="3077"/>
                  </a:cubicBezTo>
                  <a:lnTo>
                    <a:pt x="13634" y="2974"/>
                  </a:lnTo>
                  <a:lnTo>
                    <a:pt x="14436" y="3210"/>
                  </a:lnTo>
                  <a:lnTo>
                    <a:pt x="15078" y="3120"/>
                  </a:lnTo>
                  <a:lnTo>
                    <a:pt x="15532" y="3508"/>
                  </a:lnTo>
                  <a:lnTo>
                    <a:pt x="16455" y="3731"/>
                  </a:lnTo>
                  <a:lnTo>
                    <a:pt x="17622" y="3600"/>
                  </a:lnTo>
                  <a:lnTo>
                    <a:pt x="19682" y="3141"/>
                  </a:lnTo>
                  <a:lnTo>
                    <a:pt x="20265" y="3184"/>
                  </a:lnTo>
                  <a:lnTo>
                    <a:pt x="20940" y="3334"/>
                  </a:lnTo>
                  <a:lnTo>
                    <a:pt x="21600" y="3585"/>
                  </a:lnTo>
                  <a:lnTo>
                    <a:pt x="21551" y="4078"/>
                  </a:lnTo>
                  <a:lnTo>
                    <a:pt x="20719" y="4164"/>
                  </a:lnTo>
                  <a:lnTo>
                    <a:pt x="19084" y="4820"/>
                  </a:lnTo>
                  <a:lnTo>
                    <a:pt x="17083" y="6196"/>
                  </a:lnTo>
                  <a:lnTo>
                    <a:pt x="16356" y="7164"/>
                  </a:lnTo>
                  <a:lnTo>
                    <a:pt x="15335" y="7672"/>
                  </a:lnTo>
                  <a:lnTo>
                    <a:pt x="14691" y="8137"/>
                  </a:lnTo>
                  <a:lnTo>
                    <a:pt x="14689" y="8735"/>
                  </a:lnTo>
                  <a:lnTo>
                    <a:pt x="14316" y="9211"/>
                  </a:lnTo>
                  <a:lnTo>
                    <a:pt x="14393" y="10107"/>
                  </a:lnTo>
                  <a:lnTo>
                    <a:pt x="14253" y="11907"/>
                  </a:lnTo>
                  <a:lnTo>
                    <a:pt x="13721" y="12250"/>
                  </a:lnTo>
                  <a:lnTo>
                    <a:pt x="13052" y="12413"/>
                  </a:lnTo>
                  <a:lnTo>
                    <a:pt x="12518" y="12413"/>
                  </a:lnTo>
                  <a:lnTo>
                    <a:pt x="12797" y="13110"/>
                  </a:lnTo>
                  <a:lnTo>
                    <a:pt x="12892" y="13690"/>
                  </a:lnTo>
                  <a:lnTo>
                    <a:pt x="13346" y="14286"/>
                  </a:lnTo>
                  <a:lnTo>
                    <a:pt x="13222" y="14998"/>
                  </a:lnTo>
                  <a:lnTo>
                    <a:pt x="12846" y="15382"/>
                  </a:lnTo>
                  <a:lnTo>
                    <a:pt x="12706" y="15994"/>
                  </a:lnTo>
                  <a:lnTo>
                    <a:pt x="13133" y="16695"/>
                  </a:lnTo>
                  <a:lnTo>
                    <a:pt x="13622" y="17295"/>
                  </a:lnTo>
                  <a:lnTo>
                    <a:pt x="13923" y="17861"/>
                  </a:lnTo>
                  <a:lnTo>
                    <a:pt x="15169" y="17936"/>
                  </a:lnTo>
                  <a:lnTo>
                    <a:pt x="15455" y="18798"/>
                  </a:lnTo>
                  <a:lnTo>
                    <a:pt x="15927" y="19278"/>
                  </a:lnTo>
                  <a:lnTo>
                    <a:pt x="16775" y="19353"/>
                  </a:lnTo>
                  <a:lnTo>
                    <a:pt x="17010" y="20064"/>
                  </a:lnTo>
                  <a:lnTo>
                    <a:pt x="17369" y="20583"/>
                  </a:lnTo>
                  <a:lnTo>
                    <a:pt x="17461" y="2160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0" name="Shape">
              <a:extLst>
                <a:ext uri="{FF2B5EF4-FFF2-40B4-BE49-F238E27FC236}">
                  <a16:creationId xmlns:a16="http://schemas.microsoft.com/office/drawing/2014/main" id="{0D48C589-8E64-4D24-B938-ADA30E23FF47}"/>
                </a:ext>
              </a:extLst>
            </p:cNvPr>
            <p:cNvSpPr/>
            <p:nvPr/>
          </p:nvSpPr>
          <p:spPr>
            <a:xfrm>
              <a:off x="4447861" y="2285643"/>
              <a:ext cx="2301122" cy="189461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229" y="0"/>
                  </a:moveTo>
                  <a:lnTo>
                    <a:pt x="0" y="18133"/>
                  </a:lnTo>
                  <a:cubicBezTo>
                    <a:pt x="3351" y="18854"/>
                    <a:pt x="6713" y="19507"/>
                    <a:pt x="10082" y="20090"/>
                  </a:cubicBezTo>
                  <a:cubicBezTo>
                    <a:pt x="13368" y="20659"/>
                    <a:pt x="16661" y="21163"/>
                    <a:pt x="19960" y="21600"/>
                  </a:cubicBezTo>
                  <a:lnTo>
                    <a:pt x="21600" y="3346"/>
                  </a:lnTo>
                  <a:lnTo>
                    <a:pt x="3229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1" name="Shape">
              <a:extLst>
                <a:ext uri="{FF2B5EF4-FFF2-40B4-BE49-F238E27FC236}">
                  <a16:creationId xmlns:a16="http://schemas.microsoft.com/office/drawing/2014/main" id="{0E14B4CB-AC00-4143-A61C-E5035E05CFF7}"/>
                </a:ext>
              </a:extLst>
            </p:cNvPr>
            <p:cNvSpPr/>
            <p:nvPr/>
          </p:nvSpPr>
          <p:spPr>
            <a:xfrm>
              <a:off x="6639462" y="2211172"/>
              <a:ext cx="2302155" cy="15441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0" y="0"/>
                  </a:moveTo>
                  <a:lnTo>
                    <a:pt x="0" y="16615"/>
                  </a:lnTo>
                  <a:lnTo>
                    <a:pt x="11710" y="17818"/>
                  </a:lnTo>
                  <a:lnTo>
                    <a:pt x="12469" y="18312"/>
                  </a:lnTo>
                  <a:lnTo>
                    <a:pt x="13100" y="18503"/>
                  </a:lnTo>
                  <a:lnTo>
                    <a:pt x="13695" y="19343"/>
                  </a:lnTo>
                  <a:lnTo>
                    <a:pt x="14831" y="19517"/>
                  </a:lnTo>
                  <a:lnTo>
                    <a:pt x="15442" y="19844"/>
                  </a:lnTo>
                  <a:lnTo>
                    <a:pt x="16636" y="20735"/>
                  </a:lnTo>
                  <a:lnTo>
                    <a:pt x="17229" y="20561"/>
                  </a:lnTo>
                  <a:lnTo>
                    <a:pt x="18029" y="19803"/>
                  </a:lnTo>
                  <a:lnTo>
                    <a:pt x="18494" y="19610"/>
                  </a:lnTo>
                  <a:lnTo>
                    <a:pt x="18970" y="19977"/>
                  </a:lnTo>
                  <a:lnTo>
                    <a:pt x="19521" y="20172"/>
                  </a:lnTo>
                  <a:lnTo>
                    <a:pt x="20249" y="20300"/>
                  </a:lnTo>
                  <a:lnTo>
                    <a:pt x="21124" y="21083"/>
                  </a:lnTo>
                  <a:lnTo>
                    <a:pt x="21600" y="21600"/>
                  </a:lnTo>
                  <a:lnTo>
                    <a:pt x="21228" y="19808"/>
                  </a:lnTo>
                  <a:lnTo>
                    <a:pt x="21359" y="18598"/>
                  </a:lnTo>
                  <a:lnTo>
                    <a:pt x="21359" y="17078"/>
                  </a:lnTo>
                  <a:lnTo>
                    <a:pt x="20673" y="15544"/>
                  </a:lnTo>
                  <a:lnTo>
                    <a:pt x="21500" y="15719"/>
                  </a:lnTo>
                  <a:lnTo>
                    <a:pt x="21543" y="5243"/>
                  </a:lnTo>
                  <a:lnTo>
                    <a:pt x="21412" y="4253"/>
                  </a:lnTo>
                  <a:lnTo>
                    <a:pt x="21456" y="1591"/>
                  </a:lnTo>
                  <a:cubicBezTo>
                    <a:pt x="18158" y="1431"/>
                    <a:pt x="14861" y="1223"/>
                    <a:pt x="11566" y="967"/>
                  </a:cubicBezTo>
                  <a:cubicBezTo>
                    <a:pt x="8115" y="698"/>
                    <a:pt x="4666" y="375"/>
                    <a:pt x="1220" y="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2" name="Shape">
              <a:extLst>
                <a:ext uri="{FF2B5EF4-FFF2-40B4-BE49-F238E27FC236}">
                  <a16:creationId xmlns:a16="http://schemas.microsoft.com/office/drawing/2014/main" id="{398A573D-CDF1-4476-B28D-C94FC38BAB9C}"/>
                </a:ext>
              </a:extLst>
            </p:cNvPr>
            <p:cNvSpPr/>
            <p:nvPr/>
          </p:nvSpPr>
          <p:spPr>
            <a:xfrm>
              <a:off x="6567972" y="3376249"/>
              <a:ext cx="2683285" cy="13388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98" extrusionOk="0">
                  <a:moveTo>
                    <a:pt x="21600" y="21598"/>
                  </a:moveTo>
                  <a:cubicBezTo>
                    <a:pt x="18799" y="21600"/>
                    <a:pt x="15998" y="21481"/>
                    <a:pt x="13200" y="21242"/>
                  </a:cubicBezTo>
                  <a:cubicBezTo>
                    <a:pt x="10355" y="20999"/>
                    <a:pt x="7514" y="20632"/>
                    <a:pt x="4677" y="20140"/>
                  </a:cubicBezTo>
                  <a:lnTo>
                    <a:pt x="4873" y="14332"/>
                  </a:lnTo>
                  <a:lnTo>
                    <a:pt x="0" y="12910"/>
                  </a:lnTo>
                  <a:lnTo>
                    <a:pt x="632" y="0"/>
                  </a:lnTo>
                  <a:lnTo>
                    <a:pt x="10656" y="1485"/>
                  </a:lnTo>
                  <a:lnTo>
                    <a:pt x="11302" y="2075"/>
                  </a:lnTo>
                  <a:lnTo>
                    <a:pt x="12077" y="2301"/>
                  </a:lnTo>
                  <a:lnTo>
                    <a:pt x="12504" y="3245"/>
                  </a:lnTo>
                  <a:lnTo>
                    <a:pt x="13629" y="3471"/>
                  </a:lnTo>
                  <a:lnTo>
                    <a:pt x="14939" y="4922"/>
                  </a:lnTo>
                  <a:lnTo>
                    <a:pt x="15519" y="4499"/>
                  </a:lnTo>
                  <a:lnTo>
                    <a:pt x="16172" y="3555"/>
                  </a:lnTo>
                  <a:lnTo>
                    <a:pt x="16694" y="3480"/>
                  </a:lnTo>
                  <a:lnTo>
                    <a:pt x="17117" y="4000"/>
                  </a:lnTo>
                  <a:lnTo>
                    <a:pt x="18073" y="4298"/>
                  </a:lnTo>
                  <a:lnTo>
                    <a:pt x="18974" y="5791"/>
                  </a:lnTo>
                  <a:lnTo>
                    <a:pt x="19074" y="7490"/>
                  </a:lnTo>
                  <a:lnTo>
                    <a:pt x="19432" y="8441"/>
                  </a:lnTo>
                  <a:lnTo>
                    <a:pt x="19432" y="9390"/>
                  </a:lnTo>
                  <a:lnTo>
                    <a:pt x="19706" y="10234"/>
                  </a:lnTo>
                  <a:lnTo>
                    <a:pt x="19780" y="11620"/>
                  </a:lnTo>
                  <a:lnTo>
                    <a:pt x="20030" y="12733"/>
                  </a:lnTo>
                  <a:lnTo>
                    <a:pt x="20368" y="13756"/>
                  </a:lnTo>
                  <a:lnTo>
                    <a:pt x="20294" y="14932"/>
                  </a:lnTo>
                  <a:lnTo>
                    <a:pt x="20294" y="16393"/>
                  </a:lnTo>
                  <a:lnTo>
                    <a:pt x="20507" y="17641"/>
                  </a:lnTo>
                  <a:lnTo>
                    <a:pt x="20862" y="18453"/>
                  </a:lnTo>
                  <a:lnTo>
                    <a:pt x="21059" y="19275"/>
                  </a:lnTo>
                  <a:lnTo>
                    <a:pt x="20984" y="20121"/>
                  </a:lnTo>
                  <a:cubicBezTo>
                    <a:pt x="21001" y="20477"/>
                    <a:pt x="21073" y="20813"/>
                    <a:pt x="21190" y="21082"/>
                  </a:cubicBezTo>
                  <a:cubicBezTo>
                    <a:pt x="21299" y="21330"/>
                    <a:pt x="21441" y="21510"/>
                    <a:pt x="21600" y="21598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3" name="Shape">
              <a:extLst>
                <a:ext uri="{FF2B5EF4-FFF2-40B4-BE49-F238E27FC236}">
                  <a16:creationId xmlns:a16="http://schemas.microsoft.com/office/drawing/2014/main" id="{E8C43B13-FC85-46C3-97F5-7201B967BD5B}"/>
                </a:ext>
              </a:extLst>
            </p:cNvPr>
            <p:cNvSpPr/>
            <p:nvPr/>
          </p:nvSpPr>
          <p:spPr>
            <a:xfrm>
              <a:off x="8835466" y="3303976"/>
              <a:ext cx="1977930" cy="13514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84" y="239"/>
                  </a:lnTo>
                  <a:lnTo>
                    <a:pt x="17538" y="345"/>
                  </a:lnTo>
                  <a:lnTo>
                    <a:pt x="18079" y="1664"/>
                  </a:lnTo>
                  <a:lnTo>
                    <a:pt x="17877" y="2780"/>
                  </a:lnTo>
                  <a:lnTo>
                    <a:pt x="17729" y="4240"/>
                  </a:lnTo>
                  <a:lnTo>
                    <a:pt x="18382" y="5740"/>
                  </a:lnTo>
                  <a:lnTo>
                    <a:pt x="19637" y="7098"/>
                  </a:lnTo>
                  <a:lnTo>
                    <a:pt x="20634" y="8173"/>
                  </a:lnTo>
                  <a:lnTo>
                    <a:pt x="20921" y="9415"/>
                  </a:lnTo>
                  <a:lnTo>
                    <a:pt x="21443" y="10161"/>
                  </a:lnTo>
                  <a:lnTo>
                    <a:pt x="21600" y="11096"/>
                  </a:lnTo>
                  <a:lnTo>
                    <a:pt x="21095" y="12007"/>
                  </a:lnTo>
                  <a:lnTo>
                    <a:pt x="20265" y="13144"/>
                  </a:lnTo>
                  <a:lnTo>
                    <a:pt x="19622" y="13293"/>
                  </a:lnTo>
                  <a:lnTo>
                    <a:pt x="19722" y="14309"/>
                  </a:lnTo>
                  <a:lnTo>
                    <a:pt x="18860" y="14902"/>
                  </a:lnTo>
                  <a:lnTo>
                    <a:pt x="18758" y="15741"/>
                  </a:lnTo>
                  <a:lnTo>
                    <a:pt x="18554" y="17602"/>
                  </a:lnTo>
                  <a:lnTo>
                    <a:pt x="18096" y="18441"/>
                  </a:lnTo>
                  <a:lnTo>
                    <a:pt x="17775" y="19901"/>
                  </a:lnTo>
                  <a:lnTo>
                    <a:pt x="17540" y="21600"/>
                  </a:lnTo>
                  <a:lnTo>
                    <a:pt x="17049" y="20926"/>
                  </a:lnTo>
                  <a:lnTo>
                    <a:pt x="16759" y="19935"/>
                  </a:lnTo>
                  <a:lnTo>
                    <a:pt x="16275" y="19226"/>
                  </a:lnTo>
                  <a:lnTo>
                    <a:pt x="3250" y="19348"/>
                  </a:lnTo>
                  <a:lnTo>
                    <a:pt x="2798" y="18357"/>
                  </a:lnTo>
                  <a:lnTo>
                    <a:pt x="2594" y="17216"/>
                  </a:lnTo>
                  <a:lnTo>
                    <a:pt x="2702" y="14635"/>
                  </a:lnTo>
                  <a:lnTo>
                    <a:pt x="2044" y="13327"/>
                  </a:lnTo>
                  <a:lnTo>
                    <a:pt x="1828" y="11363"/>
                  </a:lnTo>
                  <a:lnTo>
                    <a:pt x="1475" y="10652"/>
                  </a:lnTo>
                  <a:lnTo>
                    <a:pt x="1460" y="9518"/>
                  </a:lnTo>
                  <a:lnTo>
                    <a:pt x="917" y="8701"/>
                  </a:lnTo>
                  <a:lnTo>
                    <a:pt x="866" y="6538"/>
                  </a:lnTo>
                  <a:lnTo>
                    <a:pt x="509" y="5013"/>
                  </a:lnTo>
                  <a:lnTo>
                    <a:pt x="730" y="20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4" name="Shape">
              <a:extLst>
                <a:ext uri="{FF2B5EF4-FFF2-40B4-BE49-F238E27FC236}">
                  <a16:creationId xmlns:a16="http://schemas.microsoft.com/office/drawing/2014/main" id="{421D60B9-9A7C-459D-AE89-8441A93A874D}"/>
                </a:ext>
              </a:extLst>
            </p:cNvPr>
            <p:cNvSpPr/>
            <p:nvPr/>
          </p:nvSpPr>
          <p:spPr>
            <a:xfrm>
              <a:off x="9932525" y="1949101"/>
              <a:ext cx="1690898" cy="17798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6510"/>
                  </a:moveTo>
                  <a:cubicBezTo>
                    <a:pt x="21458" y="6661"/>
                    <a:pt x="21316" y="6811"/>
                    <a:pt x="21174" y="6961"/>
                  </a:cubicBezTo>
                  <a:cubicBezTo>
                    <a:pt x="21032" y="7111"/>
                    <a:pt x="20890" y="7261"/>
                    <a:pt x="20748" y="7411"/>
                  </a:cubicBezTo>
                  <a:lnTo>
                    <a:pt x="20422" y="8309"/>
                  </a:lnTo>
                  <a:lnTo>
                    <a:pt x="20096" y="9416"/>
                  </a:lnTo>
                  <a:lnTo>
                    <a:pt x="19181" y="9940"/>
                  </a:lnTo>
                  <a:lnTo>
                    <a:pt x="18465" y="10518"/>
                  </a:lnTo>
                  <a:lnTo>
                    <a:pt x="18135" y="11655"/>
                  </a:lnTo>
                  <a:lnTo>
                    <a:pt x="17746" y="12443"/>
                  </a:lnTo>
                  <a:lnTo>
                    <a:pt x="17174" y="12391"/>
                  </a:lnTo>
                  <a:lnTo>
                    <a:pt x="17455" y="11136"/>
                  </a:lnTo>
                  <a:lnTo>
                    <a:pt x="18269" y="9981"/>
                  </a:lnTo>
                  <a:lnTo>
                    <a:pt x="19228" y="9202"/>
                  </a:lnTo>
                  <a:lnTo>
                    <a:pt x="19540" y="8591"/>
                  </a:lnTo>
                  <a:lnTo>
                    <a:pt x="18972" y="8199"/>
                  </a:lnTo>
                  <a:lnTo>
                    <a:pt x="18758" y="7239"/>
                  </a:lnTo>
                  <a:lnTo>
                    <a:pt x="18480" y="6017"/>
                  </a:lnTo>
                  <a:lnTo>
                    <a:pt x="18011" y="5617"/>
                  </a:lnTo>
                  <a:lnTo>
                    <a:pt x="17199" y="5137"/>
                  </a:lnTo>
                  <a:lnTo>
                    <a:pt x="16447" y="4690"/>
                  </a:lnTo>
                  <a:lnTo>
                    <a:pt x="16075" y="4350"/>
                  </a:lnTo>
                  <a:lnTo>
                    <a:pt x="15072" y="4060"/>
                  </a:lnTo>
                  <a:lnTo>
                    <a:pt x="14314" y="3808"/>
                  </a:lnTo>
                  <a:lnTo>
                    <a:pt x="13780" y="3357"/>
                  </a:lnTo>
                  <a:lnTo>
                    <a:pt x="13265" y="3120"/>
                  </a:lnTo>
                  <a:lnTo>
                    <a:pt x="12659" y="3128"/>
                  </a:lnTo>
                  <a:lnTo>
                    <a:pt x="12046" y="2910"/>
                  </a:lnTo>
                  <a:lnTo>
                    <a:pt x="10958" y="2906"/>
                  </a:lnTo>
                  <a:lnTo>
                    <a:pt x="10007" y="2292"/>
                  </a:lnTo>
                  <a:lnTo>
                    <a:pt x="8875" y="1568"/>
                  </a:lnTo>
                  <a:lnTo>
                    <a:pt x="7891" y="1624"/>
                  </a:lnTo>
                  <a:lnTo>
                    <a:pt x="7294" y="1239"/>
                  </a:lnTo>
                  <a:lnTo>
                    <a:pt x="7720" y="688"/>
                  </a:lnTo>
                  <a:lnTo>
                    <a:pt x="7511" y="17"/>
                  </a:lnTo>
                  <a:lnTo>
                    <a:pt x="6781" y="0"/>
                  </a:lnTo>
                  <a:lnTo>
                    <a:pt x="5931" y="489"/>
                  </a:lnTo>
                  <a:lnTo>
                    <a:pt x="5309" y="713"/>
                  </a:lnTo>
                  <a:lnTo>
                    <a:pt x="4709" y="883"/>
                  </a:lnTo>
                  <a:lnTo>
                    <a:pt x="4052" y="1166"/>
                  </a:lnTo>
                  <a:lnTo>
                    <a:pt x="2830" y="1563"/>
                  </a:lnTo>
                  <a:lnTo>
                    <a:pt x="2257" y="1841"/>
                  </a:lnTo>
                  <a:lnTo>
                    <a:pt x="2319" y="4565"/>
                  </a:lnTo>
                  <a:lnTo>
                    <a:pt x="1541" y="5049"/>
                  </a:lnTo>
                  <a:lnTo>
                    <a:pt x="0" y="5216"/>
                  </a:lnTo>
                  <a:lnTo>
                    <a:pt x="472" y="6231"/>
                  </a:lnTo>
                  <a:lnTo>
                    <a:pt x="584" y="7101"/>
                  </a:lnTo>
                  <a:lnTo>
                    <a:pt x="1212" y="7828"/>
                  </a:lnTo>
                  <a:lnTo>
                    <a:pt x="1033" y="8465"/>
                  </a:lnTo>
                  <a:lnTo>
                    <a:pt x="432" y="9026"/>
                  </a:lnTo>
                  <a:lnTo>
                    <a:pt x="256" y="9843"/>
                  </a:lnTo>
                  <a:lnTo>
                    <a:pt x="2093" y="12511"/>
                  </a:lnTo>
                  <a:lnTo>
                    <a:pt x="3578" y="12511"/>
                  </a:lnTo>
                  <a:lnTo>
                    <a:pt x="3859" y="13525"/>
                  </a:lnTo>
                  <a:lnTo>
                    <a:pt x="4628" y="14200"/>
                  </a:lnTo>
                  <a:lnTo>
                    <a:pt x="5604" y="14306"/>
                  </a:lnTo>
                  <a:lnTo>
                    <a:pt x="5847" y="15160"/>
                  </a:lnTo>
                  <a:lnTo>
                    <a:pt x="6381" y="15896"/>
                  </a:lnTo>
                  <a:lnTo>
                    <a:pt x="6337" y="16908"/>
                  </a:lnTo>
                  <a:lnTo>
                    <a:pt x="7069" y="17861"/>
                  </a:lnTo>
                  <a:lnTo>
                    <a:pt x="6523" y="19644"/>
                  </a:lnTo>
                  <a:lnTo>
                    <a:pt x="7367" y="20902"/>
                  </a:lnTo>
                  <a:lnTo>
                    <a:pt x="8385" y="21600"/>
                  </a:lnTo>
                  <a:lnTo>
                    <a:pt x="19534" y="21359"/>
                  </a:lnTo>
                  <a:lnTo>
                    <a:pt x="19358" y="20765"/>
                  </a:lnTo>
                  <a:lnTo>
                    <a:pt x="19872" y="19845"/>
                  </a:lnTo>
                  <a:lnTo>
                    <a:pt x="19579" y="18481"/>
                  </a:lnTo>
                  <a:lnTo>
                    <a:pt x="19070" y="17361"/>
                  </a:lnTo>
                  <a:lnTo>
                    <a:pt x="18951" y="16355"/>
                  </a:lnTo>
                  <a:lnTo>
                    <a:pt x="18772" y="15244"/>
                  </a:lnTo>
                  <a:lnTo>
                    <a:pt x="18772" y="13971"/>
                  </a:lnTo>
                  <a:lnTo>
                    <a:pt x="19070" y="13109"/>
                  </a:lnTo>
                  <a:lnTo>
                    <a:pt x="19467" y="12642"/>
                  </a:lnTo>
                  <a:lnTo>
                    <a:pt x="20001" y="12251"/>
                  </a:lnTo>
                  <a:lnTo>
                    <a:pt x="20177" y="11411"/>
                  </a:lnTo>
                  <a:lnTo>
                    <a:pt x="20453" y="10663"/>
                  </a:lnTo>
                  <a:lnTo>
                    <a:pt x="21202" y="8656"/>
                  </a:lnTo>
                  <a:lnTo>
                    <a:pt x="21600" y="651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5" name="Shape">
              <a:extLst>
                <a:ext uri="{FF2B5EF4-FFF2-40B4-BE49-F238E27FC236}">
                  <a16:creationId xmlns:a16="http://schemas.microsoft.com/office/drawing/2014/main" id="{9CB70719-745A-4A59-90C1-10ED56CBD55E}"/>
                </a:ext>
              </a:extLst>
            </p:cNvPr>
            <p:cNvSpPr/>
            <p:nvPr/>
          </p:nvSpPr>
          <p:spPr>
            <a:xfrm>
              <a:off x="10613814" y="1637116"/>
              <a:ext cx="2508175" cy="22975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920" y="20917"/>
                  </a:moveTo>
                  <a:lnTo>
                    <a:pt x="15488" y="21513"/>
                  </a:lnTo>
                  <a:lnTo>
                    <a:pt x="15459" y="21121"/>
                  </a:lnTo>
                  <a:lnTo>
                    <a:pt x="9753" y="21600"/>
                  </a:lnTo>
                  <a:lnTo>
                    <a:pt x="10722" y="20595"/>
                  </a:lnTo>
                  <a:lnTo>
                    <a:pt x="11451" y="18749"/>
                  </a:lnTo>
                  <a:lnTo>
                    <a:pt x="11492" y="16692"/>
                  </a:lnTo>
                  <a:lnTo>
                    <a:pt x="11348" y="16084"/>
                  </a:lnTo>
                  <a:lnTo>
                    <a:pt x="10973" y="15570"/>
                  </a:lnTo>
                  <a:lnTo>
                    <a:pt x="10531" y="14914"/>
                  </a:lnTo>
                  <a:lnTo>
                    <a:pt x="10383" y="14363"/>
                  </a:lnTo>
                  <a:lnTo>
                    <a:pt x="10318" y="13729"/>
                  </a:lnTo>
                  <a:lnTo>
                    <a:pt x="10079" y="13292"/>
                  </a:lnTo>
                  <a:lnTo>
                    <a:pt x="10594" y="12349"/>
                  </a:lnTo>
                  <a:lnTo>
                    <a:pt x="10675" y="11534"/>
                  </a:lnTo>
                  <a:lnTo>
                    <a:pt x="10474" y="10949"/>
                  </a:lnTo>
                  <a:lnTo>
                    <a:pt x="10604" y="10303"/>
                  </a:lnTo>
                  <a:lnTo>
                    <a:pt x="11379" y="9700"/>
                  </a:lnTo>
                  <a:lnTo>
                    <a:pt x="11860" y="9170"/>
                  </a:lnTo>
                  <a:lnTo>
                    <a:pt x="12203" y="8662"/>
                  </a:lnTo>
                  <a:lnTo>
                    <a:pt x="12521" y="8179"/>
                  </a:lnTo>
                  <a:cubicBezTo>
                    <a:pt x="12532" y="8248"/>
                    <a:pt x="12542" y="8317"/>
                    <a:pt x="12553" y="8385"/>
                  </a:cubicBezTo>
                  <a:cubicBezTo>
                    <a:pt x="12563" y="8454"/>
                    <a:pt x="12574" y="8523"/>
                    <a:pt x="12584" y="8592"/>
                  </a:cubicBezTo>
                  <a:cubicBezTo>
                    <a:pt x="12606" y="8729"/>
                    <a:pt x="12627" y="8867"/>
                    <a:pt x="12648" y="9005"/>
                  </a:cubicBezTo>
                  <a:lnTo>
                    <a:pt x="12794" y="9741"/>
                  </a:lnTo>
                  <a:lnTo>
                    <a:pt x="13217" y="9247"/>
                  </a:lnTo>
                  <a:lnTo>
                    <a:pt x="13036" y="7964"/>
                  </a:lnTo>
                  <a:lnTo>
                    <a:pt x="13421" y="7501"/>
                  </a:lnTo>
                  <a:lnTo>
                    <a:pt x="13756" y="6812"/>
                  </a:lnTo>
                  <a:lnTo>
                    <a:pt x="13584" y="6330"/>
                  </a:lnTo>
                  <a:lnTo>
                    <a:pt x="13878" y="5932"/>
                  </a:lnTo>
                  <a:lnTo>
                    <a:pt x="13438" y="5901"/>
                  </a:lnTo>
                  <a:lnTo>
                    <a:pt x="13542" y="5398"/>
                  </a:lnTo>
                  <a:lnTo>
                    <a:pt x="13073" y="5031"/>
                  </a:lnTo>
                  <a:lnTo>
                    <a:pt x="12357" y="4882"/>
                  </a:lnTo>
                  <a:lnTo>
                    <a:pt x="11840" y="4845"/>
                  </a:lnTo>
                  <a:lnTo>
                    <a:pt x="11270" y="5338"/>
                  </a:lnTo>
                  <a:lnTo>
                    <a:pt x="10502" y="5599"/>
                  </a:lnTo>
                  <a:lnTo>
                    <a:pt x="9930" y="5731"/>
                  </a:lnTo>
                  <a:lnTo>
                    <a:pt x="9849" y="6456"/>
                  </a:lnTo>
                  <a:lnTo>
                    <a:pt x="9509" y="6829"/>
                  </a:lnTo>
                  <a:lnTo>
                    <a:pt x="9511" y="7461"/>
                  </a:lnTo>
                  <a:lnTo>
                    <a:pt x="9100" y="7419"/>
                  </a:lnTo>
                  <a:lnTo>
                    <a:pt x="9037" y="6897"/>
                  </a:lnTo>
                  <a:lnTo>
                    <a:pt x="9231" y="6434"/>
                  </a:lnTo>
                  <a:lnTo>
                    <a:pt x="9162" y="5939"/>
                  </a:lnTo>
                  <a:lnTo>
                    <a:pt x="8578" y="6303"/>
                  </a:lnTo>
                  <a:lnTo>
                    <a:pt x="7944" y="6785"/>
                  </a:lnTo>
                  <a:lnTo>
                    <a:pt x="7556" y="7481"/>
                  </a:lnTo>
                  <a:lnTo>
                    <a:pt x="7051" y="9526"/>
                  </a:lnTo>
                  <a:lnTo>
                    <a:pt x="6719" y="9265"/>
                  </a:lnTo>
                  <a:lnTo>
                    <a:pt x="6500" y="7706"/>
                  </a:lnTo>
                  <a:lnTo>
                    <a:pt x="5249" y="6829"/>
                  </a:lnTo>
                  <a:lnTo>
                    <a:pt x="4898" y="6476"/>
                  </a:lnTo>
                  <a:lnTo>
                    <a:pt x="3756" y="6043"/>
                  </a:lnTo>
                  <a:lnTo>
                    <a:pt x="3168" y="5563"/>
                  </a:lnTo>
                  <a:lnTo>
                    <a:pt x="2419" y="5539"/>
                  </a:lnTo>
                  <a:lnTo>
                    <a:pt x="1903" y="5409"/>
                  </a:lnTo>
                  <a:lnTo>
                    <a:pt x="1211" y="5279"/>
                  </a:lnTo>
                  <a:lnTo>
                    <a:pt x="0" y="4291"/>
                  </a:lnTo>
                  <a:lnTo>
                    <a:pt x="388" y="4078"/>
                  </a:lnTo>
                  <a:lnTo>
                    <a:pt x="558" y="3577"/>
                  </a:lnTo>
                  <a:lnTo>
                    <a:pt x="945" y="3118"/>
                  </a:lnTo>
                  <a:lnTo>
                    <a:pt x="1462" y="3132"/>
                  </a:lnTo>
                  <a:lnTo>
                    <a:pt x="1847" y="2770"/>
                  </a:lnTo>
                  <a:lnTo>
                    <a:pt x="2582" y="2716"/>
                  </a:lnTo>
                  <a:lnTo>
                    <a:pt x="3057" y="2509"/>
                  </a:lnTo>
                  <a:lnTo>
                    <a:pt x="3484" y="2170"/>
                  </a:lnTo>
                  <a:lnTo>
                    <a:pt x="3566" y="1533"/>
                  </a:lnTo>
                  <a:lnTo>
                    <a:pt x="4246" y="1331"/>
                  </a:lnTo>
                  <a:lnTo>
                    <a:pt x="4313" y="945"/>
                  </a:lnTo>
                  <a:lnTo>
                    <a:pt x="4550" y="534"/>
                  </a:lnTo>
                  <a:lnTo>
                    <a:pt x="5224" y="117"/>
                  </a:lnTo>
                  <a:lnTo>
                    <a:pt x="5781" y="0"/>
                  </a:lnTo>
                  <a:lnTo>
                    <a:pt x="6151" y="745"/>
                  </a:lnTo>
                  <a:lnTo>
                    <a:pt x="5645" y="924"/>
                  </a:lnTo>
                  <a:lnTo>
                    <a:pt x="5260" y="1270"/>
                  </a:lnTo>
                  <a:lnTo>
                    <a:pt x="4967" y="1516"/>
                  </a:lnTo>
                  <a:lnTo>
                    <a:pt x="4756" y="1862"/>
                  </a:lnTo>
                  <a:lnTo>
                    <a:pt x="4586" y="2671"/>
                  </a:lnTo>
                  <a:lnTo>
                    <a:pt x="4465" y="3282"/>
                  </a:lnTo>
                  <a:lnTo>
                    <a:pt x="4932" y="3326"/>
                  </a:lnTo>
                  <a:lnTo>
                    <a:pt x="5053" y="2860"/>
                  </a:lnTo>
                  <a:lnTo>
                    <a:pt x="5292" y="2394"/>
                  </a:lnTo>
                  <a:lnTo>
                    <a:pt x="5744" y="2540"/>
                  </a:lnTo>
                  <a:lnTo>
                    <a:pt x="6293" y="3057"/>
                  </a:lnTo>
                  <a:lnTo>
                    <a:pt x="6974" y="3366"/>
                  </a:lnTo>
                  <a:lnTo>
                    <a:pt x="7080" y="4022"/>
                  </a:lnTo>
                  <a:lnTo>
                    <a:pt x="7662" y="3890"/>
                  </a:lnTo>
                  <a:lnTo>
                    <a:pt x="8384" y="3936"/>
                  </a:lnTo>
                  <a:lnTo>
                    <a:pt x="9021" y="4197"/>
                  </a:lnTo>
                  <a:lnTo>
                    <a:pt x="9297" y="3561"/>
                  </a:lnTo>
                  <a:lnTo>
                    <a:pt x="9616" y="3256"/>
                  </a:lnTo>
                  <a:lnTo>
                    <a:pt x="9974" y="3009"/>
                  </a:lnTo>
                  <a:lnTo>
                    <a:pt x="11348" y="2733"/>
                  </a:lnTo>
                  <a:lnTo>
                    <a:pt x="12023" y="2514"/>
                  </a:lnTo>
                  <a:lnTo>
                    <a:pt x="12222" y="2032"/>
                  </a:lnTo>
                  <a:lnTo>
                    <a:pt x="12768" y="1858"/>
                  </a:lnTo>
                  <a:lnTo>
                    <a:pt x="12806" y="2889"/>
                  </a:lnTo>
                  <a:lnTo>
                    <a:pt x="13296" y="3554"/>
                  </a:lnTo>
                  <a:lnTo>
                    <a:pt x="13693" y="3351"/>
                  </a:lnTo>
                  <a:lnTo>
                    <a:pt x="14759" y="3044"/>
                  </a:lnTo>
                  <a:lnTo>
                    <a:pt x="14893" y="3890"/>
                  </a:lnTo>
                  <a:lnTo>
                    <a:pt x="15291" y="4269"/>
                  </a:lnTo>
                  <a:lnTo>
                    <a:pt x="16013" y="4837"/>
                  </a:lnTo>
                  <a:lnTo>
                    <a:pt x="16440" y="4400"/>
                  </a:lnTo>
                  <a:lnTo>
                    <a:pt x="16997" y="4612"/>
                  </a:lnTo>
                  <a:lnTo>
                    <a:pt x="17036" y="5118"/>
                  </a:lnTo>
                  <a:lnTo>
                    <a:pt x="16421" y="5184"/>
                  </a:lnTo>
                  <a:lnTo>
                    <a:pt x="15596" y="5098"/>
                  </a:lnTo>
                  <a:lnTo>
                    <a:pt x="14649" y="4908"/>
                  </a:lnTo>
                  <a:lnTo>
                    <a:pt x="14168" y="4992"/>
                  </a:lnTo>
                  <a:lnTo>
                    <a:pt x="14376" y="5664"/>
                  </a:lnTo>
                  <a:lnTo>
                    <a:pt x="15027" y="6271"/>
                  </a:lnTo>
                  <a:lnTo>
                    <a:pt x="15767" y="6823"/>
                  </a:lnTo>
                  <a:lnTo>
                    <a:pt x="16754" y="6823"/>
                  </a:lnTo>
                  <a:lnTo>
                    <a:pt x="17071" y="7242"/>
                  </a:lnTo>
                  <a:lnTo>
                    <a:pt x="17663" y="7154"/>
                  </a:lnTo>
                  <a:lnTo>
                    <a:pt x="18036" y="7909"/>
                  </a:lnTo>
                  <a:lnTo>
                    <a:pt x="18157" y="8410"/>
                  </a:lnTo>
                  <a:lnTo>
                    <a:pt x="17844" y="8581"/>
                  </a:lnTo>
                  <a:lnTo>
                    <a:pt x="17802" y="9053"/>
                  </a:lnTo>
                  <a:lnTo>
                    <a:pt x="18068" y="9797"/>
                  </a:lnTo>
                  <a:lnTo>
                    <a:pt x="18227" y="10365"/>
                  </a:lnTo>
                  <a:lnTo>
                    <a:pt x="18135" y="10988"/>
                  </a:lnTo>
                  <a:lnTo>
                    <a:pt x="17829" y="11566"/>
                  </a:lnTo>
                  <a:lnTo>
                    <a:pt x="17832" y="12172"/>
                  </a:lnTo>
                  <a:lnTo>
                    <a:pt x="17365" y="12392"/>
                  </a:lnTo>
                  <a:lnTo>
                    <a:pt x="16967" y="12724"/>
                  </a:lnTo>
                  <a:lnTo>
                    <a:pt x="16952" y="13380"/>
                  </a:lnTo>
                  <a:lnTo>
                    <a:pt x="17332" y="13684"/>
                  </a:lnTo>
                  <a:lnTo>
                    <a:pt x="18398" y="13784"/>
                  </a:lnTo>
                  <a:lnTo>
                    <a:pt x="18791" y="13283"/>
                  </a:lnTo>
                  <a:lnTo>
                    <a:pt x="18339" y="12823"/>
                  </a:lnTo>
                  <a:lnTo>
                    <a:pt x="18775" y="12348"/>
                  </a:lnTo>
                  <a:lnTo>
                    <a:pt x="19481" y="12218"/>
                  </a:lnTo>
                  <a:lnTo>
                    <a:pt x="19948" y="11955"/>
                  </a:lnTo>
                  <a:lnTo>
                    <a:pt x="20576" y="12452"/>
                  </a:lnTo>
                  <a:lnTo>
                    <a:pt x="20843" y="13298"/>
                  </a:lnTo>
                  <a:lnTo>
                    <a:pt x="20964" y="14211"/>
                  </a:lnTo>
                  <a:lnTo>
                    <a:pt x="21044" y="14716"/>
                  </a:lnTo>
                  <a:lnTo>
                    <a:pt x="21108" y="15549"/>
                  </a:lnTo>
                  <a:lnTo>
                    <a:pt x="21426" y="16112"/>
                  </a:lnTo>
                  <a:lnTo>
                    <a:pt x="21600" y="16651"/>
                  </a:lnTo>
                  <a:lnTo>
                    <a:pt x="21481" y="17104"/>
                  </a:lnTo>
                  <a:lnTo>
                    <a:pt x="21361" y="17622"/>
                  </a:lnTo>
                  <a:lnTo>
                    <a:pt x="20870" y="17693"/>
                  </a:lnTo>
                  <a:lnTo>
                    <a:pt x="20644" y="18128"/>
                  </a:lnTo>
                  <a:lnTo>
                    <a:pt x="20651" y="19241"/>
                  </a:lnTo>
                  <a:lnTo>
                    <a:pt x="20467" y="19778"/>
                  </a:lnTo>
                  <a:lnTo>
                    <a:pt x="19920" y="20917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6" name="Shape">
              <a:extLst>
                <a:ext uri="{FF2B5EF4-FFF2-40B4-BE49-F238E27FC236}">
                  <a16:creationId xmlns:a16="http://schemas.microsoft.com/office/drawing/2014/main" id="{86E7A33D-3EC0-442B-A5FE-CD17F6638A6D}"/>
                </a:ext>
              </a:extLst>
            </p:cNvPr>
            <p:cNvSpPr/>
            <p:nvPr/>
          </p:nvSpPr>
          <p:spPr>
            <a:xfrm>
              <a:off x="10431651" y="3693507"/>
              <a:ext cx="1267789" cy="223066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586" y="0"/>
                  </a:moveTo>
                  <a:lnTo>
                    <a:pt x="2288" y="248"/>
                  </a:lnTo>
                  <a:lnTo>
                    <a:pt x="4820" y="1312"/>
                  </a:lnTo>
                  <a:lnTo>
                    <a:pt x="5388" y="2213"/>
                  </a:lnTo>
                  <a:lnTo>
                    <a:pt x="6365" y="2618"/>
                  </a:lnTo>
                  <a:lnTo>
                    <a:pt x="6110" y="3011"/>
                  </a:lnTo>
                  <a:lnTo>
                    <a:pt x="4441" y="3926"/>
                  </a:lnTo>
                  <a:lnTo>
                    <a:pt x="3391" y="4120"/>
                  </a:lnTo>
                  <a:lnTo>
                    <a:pt x="3242" y="4717"/>
                  </a:lnTo>
                  <a:lnTo>
                    <a:pt x="1894" y="5152"/>
                  </a:lnTo>
                  <a:lnTo>
                    <a:pt x="1471" y="6755"/>
                  </a:lnTo>
                  <a:lnTo>
                    <a:pt x="793" y="7171"/>
                  </a:lnTo>
                  <a:lnTo>
                    <a:pt x="62" y="8703"/>
                  </a:lnTo>
                  <a:lnTo>
                    <a:pt x="0" y="9573"/>
                  </a:lnTo>
                  <a:lnTo>
                    <a:pt x="317" y="10156"/>
                  </a:lnTo>
                  <a:lnTo>
                    <a:pt x="317" y="10787"/>
                  </a:lnTo>
                  <a:lnTo>
                    <a:pt x="529" y="11493"/>
                  </a:lnTo>
                  <a:lnTo>
                    <a:pt x="2006" y="12063"/>
                  </a:lnTo>
                  <a:lnTo>
                    <a:pt x="2850" y="12379"/>
                  </a:lnTo>
                  <a:lnTo>
                    <a:pt x="3963" y="13132"/>
                  </a:lnTo>
                  <a:lnTo>
                    <a:pt x="4566" y="13606"/>
                  </a:lnTo>
                  <a:lnTo>
                    <a:pt x="5360" y="14083"/>
                  </a:lnTo>
                  <a:lnTo>
                    <a:pt x="6864" y="14128"/>
                  </a:lnTo>
                  <a:lnTo>
                    <a:pt x="7490" y="14583"/>
                  </a:lnTo>
                  <a:lnTo>
                    <a:pt x="7775" y="15421"/>
                  </a:lnTo>
                  <a:lnTo>
                    <a:pt x="6847" y="16036"/>
                  </a:lnTo>
                  <a:lnTo>
                    <a:pt x="6794" y="16577"/>
                  </a:lnTo>
                  <a:lnTo>
                    <a:pt x="7483" y="17252"/>
                  </a:lnTo>
                  <a:lnTo>
                    <a:pt x="9006" y="17928"/>
                  </a:lnTo>
                  <a:lnTo>
                    <a:pt x="10059" y="18545"/>
                  </a:lnTo>
                  <a:lnTo>
                    <a:pt x="10957" y="18771"/>
                  </a:lnTo>
                  <a:lnTo>
                    <a:pt x="11116" y="19336"/>
                  </a:lnTo>
                  <a:lnTo>
                    <a:pt x="10748" y="20028"/>
                  </a:lnTo>
                  <a:lnTo>
                    <a:pt x="11301" y="20704"/>
                  </a:lnTo>
                  <a:lnTo>
                    <a:pt x="12255" y="21242"/>
                  </a:lnTo>
                  <a:lnTo>
                    <a:pt x="13563" y="21600"/>
                  </a:lnTo>
                  <a:lnTo>
                    <a:pt x="14318" y="21079"/>
                  </a:lnTo>
                  <a:lnTo>
                    <a:pt x="14553" y="20569"/>
                  </a:lnTo>
                  <a:lnTo>
                    <a:pt x="15398" y="20642"/>
                  </a:lnTo>
                  <a:lnTo>
                    <a:pt x="16268" y="21139"/>
                  </a:lnTo>
                  <a:lnTo>
                    <a:pt x="17351" y="20883"/>
                  </a:lnTo>
                  <a:lnTo>
                    <a:pt x="17351" y="20164"/>
                  </a:lnTo>
                  <a:lnTo>
                    <a:pt x="18994" y="19960"/>
                  </a:lnTo>
                  <a:lnTo>
                    <a:pt x="19464" y="19292"/>
                  </a:lnTo>
                  <a:lnTo>
                    <a:pt x="19491" y="18167"/>
                  </a:lnTo>
                  <a:lnTo>
                    <a:pt x="19491" y="17314"/>
                  </a:lnTo>
                  <a:lnTo>
                    <a:pt x="19650" y="16836"/>
                  </a:lnTo>
                  <a:lnTo>
                    <a:pt x="20120" y="16356"/>
                  </a:lnTo>
                  <a:lnTo>
                    <a:pt x="20252" y="15680"/>
                  </a:lnTo>
                  <a:lnTo>
                    <a:pt x="21017" y="15082"/>
                  </a:lnTo>
                  <a:lnTo>
                    <a:pt x="21521" y="14555"/>
                  </a:lnTo>
                  <a:lnTo>
                    <a:pt x="21600" y="13838"/>
                  </a:lnTo>
                  <a:lnTo>
                    <a:pt x="21524" y="13211"/>
                  </a:lnTo>
                  <a:lnTo>
                    <a:pt x="20974" y="12558"/>
                  </a:lnTo>
                  <a:lnTo>
                    <a:pt x="20789" y="11519"/>
                  </a:lnTo>
                  <a:lnTo>
                    <a:pt x="19779" y="2436"/>
                  </a:lnTo>
                  <a:lnTo>
                    <a:pt x="18679" y="1544"/>
                  </a:lnTo>
                  <a:lnTo>
                    <a:pt x="17586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7" name="Shape">
              <a:extLst>
                <a:ext uri="{FF2B5EF4-FFF2-40B4-BE49-F238E27FC236}">
                  <a16:creationId xmlns:a16="http://schemas.microsoft.com/office/drawing/2014/main" id="{C9953249-5045-481C-9BBF-C7D03965C48E}"/>
                </a:ext>
              </a:extLst>
            </p:cNvPr>
            <p:cNvSpPr/>
            <p:nvPr/>
          </p:nvSpPr>
          <p:spPr>
            <a:xfrm>
              <a:off x="11561954" y="3871072"/>
              <a:ext cx="965656" cy="171715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71" y="813"/>
                  </a:moveTo>
                  <a:lnTo>
                    <a:pt x="2024" y="1221"/>
                  </a:lnTo>
                  <a:lnTo>
                    <a:pt x="3737" y="1242"/>
                  </a:lnTo>
                  <a:lnTo>
                    <a:pt x="4885" y="603"/>
                  </a:lnTo>
                  <a:lnTo>
                    <a:pt x="19270" y="0"/>
                  </a:lnTo>
                  <a:lnTo>
                    <a:pt x="21600" y="13469"/>
                  </a:lnTo>
                  <a:lnTo>
                    <a:pt x="21469" y="14678"/>
                  </a:lnTo>
                  <a:lnTo>
                    <a:pt x="20605" y="15416"/>
                  </a:lnTo>
                  <a:lnTo>
                    <a:pt x="18604" y="15732"/>
                  </a:lnTo>
                  <a:lnTo>
                    <a:pt x="17809" y="16179"/>
                  </a:lnTo>
                  <a:lnTo>
                    <a:pt x="17813" y="17194"/>
                  </a:lnTo>
                  <a:lnTo>
                    <a:pt x="17104" y="18064"/>
                  </a:lnTo>
                  <a:lnTo>
                    <a:pt x="16074" y="18766"/>
                  </a:lnTo>
                  <a:lnTo>
                    <a:pt x="14874" y="19463"/>
                  </a:lnTo>
                  <a:lnTo>
                    <a:pt x="13639" y="19678"/>
                  </a:lnTo>
                  <a:lnTo>
                    <a:pt x="12509" y="19150"/>
                  </a:lnTo>
                  <a:lnTo>
                    <a:pt x="11822" y="18571"/>
                  </a:lnTo>
                  <a:lnTo>
                    <a:pt x="10995" y="19248"/>
                  </a:lnTo>
                  <a:lnTo>
                    <a:pt x="10791" y="20223"/>
                  </a:lnTo>
                  <a:lnTo>
                    <a:pt x="9496" y="20304"/>
                  </a:lnTo>
                  <a:lnTo>
                    <a:pt x="8500" y="20128"/>
                  </a:lnTo>
                  <a:lnTo>
                    <a:pt x="7300" y="20627"/>
                  </a:lnTo>
                  <a:lnTo>
                    <a:pt x="5196" y="20510"/>
                  </a:lnTo>
                  <a:lnTo>
                    <a:pt x="4165" y="20219"/>
                  </a:lnTo>
                  <a:lnTo>
                    <a:pt x="3092" y="20610"/>
                  </a:lnTo>
                  <a:lnTo>
                    <a:pt x="2022" y="20551"/>
                  </a:lnTo>
                  <a:lnTo>
                    <a:pt x="1061" y="21307"/>
                  </a:lnTo>
                  <a:lnTo>
                    <a:pt x="0" y="21600"/>
                  </a:lnTo>
                  <a:lnTo>
                    <a:pt x="52" y="19866"/>
                  </a:lnTo>
                  <a:lnTo>
                    <a:pt x="1110" y="18786"/>
                  </a:lnTo>
                  <a:lnTo>
                    <a:pt x="1106" y="17813"/>
                  </a:lnTo>
                  <a:lnTo>
                    <a:pt x="2810" y="16575"/>
                  </a:lnTo>
                  <a:lnTo>
                    <a:pt x="2814" y="15076"/>
                  </a:lnTo>
                  <a:lnTo>
                    <a:pt x="1997" y="14130"/>
                  </a:lnTo>
                  <a:lnTo>
                    <a:pt x="371" y="813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8" name="Shape">
              <a:extLst>
                <a:ext uri="{FF2B5EF4-FFF2-40B4-BE49-F238E27FC236}">
                  <a16:creationId xmlns:a16="http://schemas.microsoft.com/office/drawing/2014/main" id="{75BE8C5E-FB52-4DFB-A94E-EDF79FD75F98}"/>
                </a:ext>
              </a:extLst>
            </p:cNvPr>
            <p:cNvSpPr/>
            <p:nvPr/>
          </p:nvSpPr>
          <p:spPr>
            <a:xfrm>
              <a:off x="12411775" y="3661758"/>
              <a:ext cx="1391790" cy="148815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863" y="0"/>
                  </a:moveTo>
                  <a:lnTo>
                    <a:pt x="21600" y="11840"/>
                  </a:lnTo>
                  <a:lnTo>
                    <a:pt x="20714" y="11973"/>
                  </a:lnTo>
                  <a:lnTo>
                    <a:pt x="20424" y="12958"/>
                  </a:lnTo>
                  <a:lnTo>
                    <a:pt x="19918" y="13813"/>
                  </a:lnTo>
                  <a:lnTo>
                    <a:pt x="19359" y="14829"/>
                  </a:lnTo>
                  <a:lnTo>
                    <a:pt x="18490" y="15638"/>
                  </a:lnTo>
                  <a:lnTo>
                    <a:pt x="17569" y="15706"/>
                  </a:lnTo>
                  <a:lnTo>
                    <a:pt x="17163" y="16333"/>
                  </a:lnTo>
                  <a:lnTo>
                    <a:pt x="17386" y="17114"/>
                  </a:lnTo>
                  <a:lnTo>
                    <a:pt x="17511" y="18093"/>
                  </a:lnTo>
                  <a:lnTo>
                    <a:pt x="16667" y="17721"/>
                  </a:lnTo>
                  <a:lnTo>
                    <a:pt x="15766" y="17786"/>
                  </a:lnTo>
                  <a:lnTo>
                    <a:pt x="15244" y="18483"/>
                  </a:lnTo>
                  <a:lnTo>
                    <a:pt x="15631" y="19380"/>
                  </a:lnTo>
                  <a:lnTo>
                    <a:pt x="15269" y="20003"/>
                  </a:lnTo>
                  <a:lnTo>
                    <a:pt x="14790" y="20785"/>
                  </a:lnTo>
                  <a:lnTo>
                    <a:pt x="14632" y="21532"/>
                  </a:lnTo>
                  <a:lnTo>
                    <a:pt x="13470" y="21600"/>
                  </a:lnTo>
                  <a:lnTo>
                    <a:pt x="11729" y="19941"/>
                  </a:lnTo>
                  <a:lnTo>
                    <a:pt x="10842" y="19871"/>
                  </a:lnTo>
                  <a:lnTo>
                    <a:pt x="10174" y="20319"/>
                  </a:lnTo>
                  <a:lnTo>
                    <a:pt x="8981" y="19935"/>
                  </a:lnTo>
                  <a:lnTo>
                    <a:pt x="8297" y="20243"/>
                  </a:lnTo>
                  <a:lnTo>
                    <a:pt x="7592" y="20243"/>
                  </a:lnTo>
                  <a:lnTo>
                    <a:pt x="6648" y="19546"/>
                  </a:lnTo>
                  <a:lnTo>
                    <a:pt x="5611" y="19278"/>
                  </a:lnTo>
                  <a:lnTo>
                    <a:pt x="4202" y="19211"/>
                  </a:lnTo>
                  <a:lnTo>
                    <a:pt x="2990" y="18872"/>
                  </a:lnTo>
                  <a:lnTo>
                    <a:pt x="2382" y="18559"/>
                  </a:lnTo>
                  <a:lnTo>
                    <a:pt x="1695" y="18559"/>
                  </a:lnTo>
                  <a:lnTo>
                    <a:pt x="0" y="3573"/>
                  </a:lnTo>
                  <a:lnTo>
                    <a:pt x="8162" y="2676"/>
                  </a:lnTo>
                  <a:lnTo>
                    <a:pt x="8414" y="3415"/>
                  </a:lnTo>
                  <a:cubicBezTo>
                    <a:pt x="8705" y="3381"/>
                    <a:pt x="8996" y="3347"/>
                    <a:pt x="9287" y="3313"/>
                  </a:cubicBezTo>
                  <a:cubicBezTo>
                    <a:pt x="9578" y="3280"/>
                    <a:pt x="9869" y="3246"/>
                    <a:pt x="10160" y="3212"/>
                  </a:cubicBezTo>
                  <a:lnTo>
                    <a:pt x="10420" y="3979"/>
                  </a:lnTo>
                  <a:lnTo>
                    <a:pt x="11542" y="3567"/>
                  </a:lnTo>
                  <a:lnTo>
                    <a:pt x="12408" y="2916"/>
                  </a:lnTo>
                  <a:lnTo>
                    <a:pt x="13313" y="2058"/>
                  </a:lnTo>
                  <a:lnTo>
                    <a:pt x="14631" y="2639"/>
                  </a:lnTo>
                  <a:lnTo>
                    <a:pt x="15831" y="2258"/>
                  </a:lnTo>
                  <a:lnTo>
                    <a:pt x="16453" y="1635"/>
                  </a:lnTo>
                  <a:lnTo>
                    <a:pt x="17560" y="1006"/>
                  </a:lnTo>
                  <a:lnTo>
                    <a:pt x="18284" y="38"/>
                  </a:lnTo>
                  <a:lnTo>
                    <a:pt x="19863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79" name="Shape">
              <a:extLst>
                <a:ext uri="{FF2B5EF4-FFF2-40B4-BE49-F238E27FC236}">
                  <a16:creationId xmlns:a16="http://schemas.microsoft.com/office/drawing/2014/main" id="{D2CF2390-6CE6-4EB5-B281-0F7E0706276C}"/>
                </a:ext>
              </a:extLst>
            </p:cNvPr>
            <p:cNvSpPr/>
            <p:nvPr/>
          </p:nvSpPr>
          <p:spPr>
            <a:xfrm>
              <a:off x="13676870" y="3363681"/>
              <a:ext cx="1870095" cy="11820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75" extrusionOk="0">
                  <a:moveTo>
                    <a:pt x="17281" y="76"/>
                  </a:moveTo>
                  <a:cubicBezTo>
                    <a:pt x="17481" y="-24"/>
                    <a:pt x="17696" y="-25"/>
                    <a:pt x="17897" y="74"/>
                  </a:cubicBezTo>
                  <a:cubicBezTo>
                    <a:pt x="18165" y="207"/>
                    <a:pt x="18387" y="506"/>
                    <a:pt x="18513" y="902"/>
                  </a:cubicBezTo>
                  <a:lnTo>
                    <a:pt x="19001" y="2304"/>
                  </a:lnTo>
                  <a:lnTo>
                    <a:pt x="19432" y="3407"/>
                  </a:lnTo>
                  <a:lnTo>
                    <a:pt x="20379" y="4004"/>
                  </a:lnTo>
                  <a:lnTo>
                    <a:pt x="20969" y="4571"/>
                  </a:lnTo>
                  <a:lnTo>
                    <a:pt x="20651" y="5419"/>
                  </a:lnTo>
                  <a:lnTo>
                    <a:pt x="20082" y="6427"/>
                  </a:lnTo>
                  <a:lnTo>
                    <a:pt x="20080" y="7881"/>
                  </a:lnTo>
                  <a:lnTo>
                    <a:pt x="20168" y="9889"/>
                  </a:lnTo>
                  <a:lnTo>
                    <a:pt x="20491" y="10904"/>
                  </a:lnTo>
                  <a:lnTo>
                    <a:pt x="21331" y="11869"/>
                  </a:lnTo>
                  <a:lnTo>
                    <a:pt x="21600" y="12940"/>
                  </a:lnTo>
                  <a:lnTo>
                    <a:pt x="21295" y="14402"/>
                  </a:lnTo>
                  <a:lnTo>
                    <a:pt x="20480" y="14657"/>
                  </a:lnTo>
                  <a:lnTo>
                    <a:pt x="19575" y="17066"/>
                  </a:lnTo>
                  <a:lnTo>
                    <a:pt x="1402" y="21575"/>
                  </a:lnTo>
                  <a:lnTo>
                    <a:pt x="0" y="5462"/>
                  </a:lnTo>
                  <a:lnTo>
                    <a:pt x="1128" y="5071"/>
                  </a:lnTo>
                  <a:lnTo>
                    <a:pt x="1994" y="4167"/>
                  </a:lnTo>
                  <a:lnTo>
                    <a:pt x="2625" y="3042"/>
                  </a:lnTo>
                  <a:lnTo>
                    <a:pt x="2840" y="4699"/>
                  </a:lnTo>
                  <a:lnTo>
                    <a:pt x="17281" y="76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0" name="Shape">
              <a:extLst>
                <a:ext uri="{FF2B5EF4-FFF2-40B4-BE49-F238E27FC236}">
                  <a16:creationId xmlns:a16="http://schemas.microsoft.com/office/drawing/2014/main" id="{4A55AD12-3D2B-45FB-967D-1B2E994EE8CB}"/>
                </a:ext>
              </a:extLst>
            </p:cNvPr>
            <p:cNvSpPr/>
            <p:nvPr/>
          </p:nvSpPr>
          <p:spPr>
            <a:xfrm>
              <a:off x="238137" y="2469850"/>
              <a:ext cx="2687532" cy="44633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472" y="0"/>
                  </a:moveTo>
                  <a:cubicBezTo>
                    <a:pt x="2546" y="19"/>
                    <a:pt x="2620" y="38"/>
                    <a:pt x="2693" y="56"/>
                  </a:cubicBezTo>
                  <a:cubicBezTo>
                    <a:pt x="2767" y="75"/>
                    <a:pt x="2841" y="94"/>
                    <a:pt x="2914" y="113"/>
                  </a:cubicBezTo>
                  <a:lnTo>
                    <a:pt x="3474" y="37"/>
                  </a:lnTo>
                  <a:lnTo>
                    <a:pt x="13271" y="1740"/>
                  </a:lnTo>
                  <a:lnTo>
                    <a:pt x="10572" y="6641"/>
                  </a:lnTo>
                  <a:lnTo>
                    <a:pt x="10908" y="6865"/>
                  </a:lnTo>
                  <a:lnTo>
                    <a:pt x="10271" y="7638"/>
                  </a:lnTo>
                  <a:lnTo>
                    <a:pt x="20902" y="17313"/>
                  </a:lnTo>
                  <a:lnTo>
                    <a:pt x="20902" y="17595"/>
                  </a:lnTo>
                  <a:lnTo>
                    <a:pt x="21187" y="17994"/>
                  </a:lnTo>
                  <a:lnTo>
                    <a:pt x="21248" y="18346"/>
                  </a:lnTo>
                  <a:lnTo>
                    <a:pt x="21600" y="18559"/>
                  </a:lnTo>
                  <a:lnTo>
                    <a:pt x="21377" y="18784"/>
                  </a:lnTo>
                  <a:lnTo>
                    <a:pt x="20830" y="19068"/>
                  </a:lnTo>
                  <a:lnTo>
                    <a:pt x="20546" y="19447"/>
                  </a:lnTo>
                  <a:lnTo>
                    <a:pt x="20236" y="19625"/>
                  </a:lnTo>
                  <a:lnTo>
                    <a:pt x="19935" y="19877"/>
                  </a:lnTo>
                  <a:lnTo>
                    <a:pt x="19683" y="20163"/>
                  </a:lnTo>
                  <a:lnTo>
                    <a:pt x="19394" y="20530"/>
                  </a:lnTo>
                  <a:lnTo>
                    <a:pt x="19516" y="20806"/>
                  </a:lnTo>
                  <a:lnTo>
                    <a:pt x="20029" y="21170"/>
                  </a:lnTo>
                  <a:lnTo>
                    <a:pt x="20213" y="21487"/>
                  </a:lnTo>
                  <a:lnTo>
                    <a:pt x="19605" y="21600"/>
                  </a:lnTo>
                  <a:lnTo>
                    <a:pt x="18895" y="21443"/>
                  </a:lnTo>
                  <a:lnTo>
                    <a:pt x="12383" y="21189"/>
                  </a:lnTo>
                  <a:lnTo>
                    <a:pt x="12447" y="20898"/>
                  </a:lnTo>
                  <a:lnTo>
                    <a:pt x="12655" y="20630"/>
                  </a:lnTo>
                  <a:lnTo>
                    <a:pt x="12136" y="20683"/>
                  </a:lnTo>
                  <a:lnTo>
                    <a:pt x="12276" y="20376"/>
                  </a:lnTo>
                  <a:lnTo>
                    <a:pt x="12597" y="19910"/>
                  </a:lnTo>
                  <a:lnTo>
                    <a:pt x="12273" y="19771"/>
                  </a:lnTo>
                  <a:lnTo>
                    <a:pt x="11475" y="19098"/>
                  </a:lnTo>
                  <a:lnTo>
                    <a:pt x="11439" y="18709"/>
                  </a:lnTo>
                  <a:lnTo>
                    <a:pt x="11325" y="18449"/>
                  </a:lnTo>
                  <a:lnTo>
                    <a:pt x="10765" y="18449"/>
                  </a:lnTo>
                  <a:lnTo>
                    <a:pt x="10182" y="18337"/>
                  </a:lnTo>
                  <a:lnTo>
                    <a:pt x="9701" y="18442"/>
                  </a:lnTo>
                  <a:lnTo>
                    <a:pt x="9701" y="18164"/>
                  </a:lnTo>
                  <a:lnTo>
                    <a:pt x="9997" y="17993"/>
                  </a:lnTo>
                  <a:lnTo>
                    <a:pt x="10083" y="17671"/>
                  </a:lnTo>
                  <a:lnTo>
                    <a:pt x="9548" y="17453"/>
                  </a:lnTo>
                  <a:lnTo>
                    <a:pt x="9027" y="17408"/>
                  </a:lnTo>
                  <a:lnTo>
                    <a:pt x="8604" y="17213"/>
                  </a:lnTo>
                  <a:lnTo>
                    <a:pt x="7893" y="16795"/>
                  </a:lnTo>
                  <a:lnTo>
                    <a:pt x="7594" y="16660"/>
                  </a:lnTo>
                  <a:lnTo>
                    <a:pt x="7345" y="16443"/>
                  </a:lnTo>
                  <a:lnTo>
                    <a:pt x="6734" y="16292"/>
                  </a:lnTo>
                  <a:lnTo>
                    <a:pt x="6102" y="16248"/>
                  </a:lnTo>
                  <a:lnTo>
                    <a:pt x="5753" y="16114"/>
                  </a:lnTo>
                  <a:lnTo>
                    <a:pt x="5269" y="16023"/>
                  </a:lnTo>
                  <a:lnTo>
                    <a:pt x="4871" y="15956"/>
                  </a:lnTo>
                  <a:lnTo>
                    <a:pt x="4276" y="15550"/>
                  </a:lnTo>
                  <a:lnTo>
                    <a:pt x="4619" y="15379"/>
                  </a:lnTo>
                  <a:lnTo>
                    <a:pt x="4829" y="15126"/>
                  </a:lnTo>
                  <a:lnTo>
                    <a:pt x="5015" y="14717"/>
                  </a:lnTo>
                  <a:lnTo>
                    <a:pt x="4816" y="14359"/>
                  </a:lnTo>
                  <a:lnTo>
                    <a:pt x="4535" y="14241"/>
                  </a:lnTo>
                  <a:lnTo>
                    <a:pt x="4897" y="13831"/>
                  </a:lnTo>
                  <a:lnTo>
                    <a:pt x="4163" y="13585"/>
                  </a:lnTo>
                  <a:lnTo>
                    <a:pt x="4238" y="13331"/>
                  </a:lnTo>
                  <a:lnTo>
                    <a:pt x="4126" y="13108"/>
                  </a:lnTo>
                  <a:lnTo>
                    <a:pt x="3755" y="13062"/>
                  </a:lnTo>
                  <a:lnTo>
                    <a:pt x="3718" y="12726"/>
                  </a:lnTo>
                  <a:lnTo>
                    <a:pt x="3473" y="12334"/>
                  </a:lnTo>
                  <a:lnTo>
                    <a:pt x="3260" y="12071"/>
                  </a:lnTo>
                  <a:lnTo>
                    <a:pt x="2999" y="11777"/>
                  </a:lnTo>
                  <a:lnTo>
                    <a:pt x="2737" y="11650"/>
                  </a:lnTo>
                  <a:lnTo>
                    <a:pt x="2524" y="11476"/>
                  </a:lnTo>
                  <a:lnTo>
                    <a:pt x="2710" y="11230"/>
                  </a:lnTo>
                  <a:lnTo>
                    <a:pt x="2821" y="11034"/>
                  </a:lnTo>
                  <a:lnTo>
                    <a:pt x="2824" y="10835"/>
                  </a:lnTo>
                  <a:lnTo>
                    <a:pt x="2317" y="10790"/>
                  </a:lnTo>
                  <a:lnTo>
                    <a:pt x="2242" y="10434"/>
                  </a:lnTo>
                  <a:lnTo>
                    <a:pt x="2385" y="10128"/>
                  </a:lnTo>
                  <a:lnTo>
                    <a:pt x="2384" y="9867"/>
                  </a:lnTo>
                  <a:lnTo>
                    <a:pt x="2606" y="9398"/>
                  </a:lnTo>
                  <a:lnTo>
                    <a:pt x="2642" y="9023"/>
                  </a:lnTo>
                  <a:lnTo>
                    <a:pt x="2929" y="8858"/>
                  </a:lnTo>
                  <a:lnTo>
                    <a:pt x="3315" y="8769"/>
                  </a:lnTo>
                  <a:lnTo>
                    <a:pt x="3472" y="9056"/>
                  </a:lnTo>
                  <a:lnTo>
                    <a:pt x="3398" y="9302"/>
                  </a:lnTo>
                  <a:lnTo>
                    <a:pt x="3398" y="9572"/>
                  </a:lnTo>
                  <a:lnTo>
                    <a:pt x="3632" y="9796"/>
                  </a:lnTo>
                  <a:lnTo>
                    <a:pt x="4003" y="9437"/>
                  </a:lnTo>
                  <a:lnTo>
                    <a:pt x="3454" y="8453"/>
                  </a:lnTo>
                  <a:lnTo>
                    <a:pt x="3903" y="8262"/>
                  </a:lnTo>
                  <a:lnTo>
                    <a:pt x="4603" y="8270"/>
                  </a:lnTo>
                  <a:lnTo>
                    <a:pt x="5165" y="8510"/>
                  </a:lnTo>
                  <a:lnTo>
                    <a:pt x="5523" y="8391"/>
                  </a:lnTo>
                  <a:lnTo>
                    <a:pt x="5632" y="8062"/>
                  </a:lnTo>
                  <a:lnTo>
                    <a:pt x="4748" y="8062"/>
                  </a:lnTo>
                  <a:lnTo>
                    <a:pt x="3804" y="8069"/>
                  </a:lnTo>
                  <a:lnTo>
                    <a:pt x="3368" y="8024"/>
                  </a:lnTo>
                  <a:lnTo>
                    <a:pt x="3120" y="8308"/>
                  </a:lnTo>
                  <a:lnTo>
                    <a:pt x="2772" y="8591"/>
                  </a:lnTo>
                  <a:lnTo>
                    <a:pt x="2498" y="8426"/>
                  </a:lnTo>
                  <a:lnTo>
                    <a:pt x="2350" y="8111"/>
                  </a:lnTo>
                  <a:lnTo>
                    <a:pt x="1931" y="8177"/>
                  </a:lnTo>
                  <a:lnTo>
                    <a:pt x="1634" y="8050"/>
                  </a:lnTo>
                  <a:lnTo>
                    <a:pt x="1646" y="7721"/>
                  </a:lnTo>
                  <a:lnTo>
                    <a:pt x="2064" y="7609"/>
                  </a:lnTo>
                  <a:lnTo>
                    <a:pt x="2285" y="7396"/>
                  </a:lnTo>
                  <a:lnTo>
                    <a:pt x="2033" y="7124"/>
                  </a:lnTo>
                  <a:lnTo>
                    <a:pt x="1555" y="6842"/>
                  </a:lnTo>
                  <a:lnTo>
                    <a:pt x="1247" y="6640"/>
                  </a:lnTo>
                  <a:lnTo>
                    <a:pt x="1025" y="6259"/>
                  </a:lnTo>
                  <a:lnTo>
                    <a:pt x="434" y="6169"/>
                  </a:lnTo>
                  <a:lnTo>
                    <a:pt x="0" y="5997"/>
                  </a:lnTo>
                  <a:lnTo>
                    <a:pt x="548" y="5651"/>
                  </a:lnTo>
                  <a:lnTo>
                    <a:pt x="1286" y="5525"/>
                  </a:lnTo>
                  <a:lnTo>
                    <a:pt x="1212" y="5259"/>
                  </a:lnTo>
                  <a:lnTo>
                    <a:pt x="1025" y="5101"/>
                  </a:lnTo>
                  <a:lnTo>
                    <a:pt x="1348" y="4718"/>
                  </a:lnTo>
                  <a:lnTo>
                    <a:pt x="1472" y="4237"/>
                  </a:lnTo>
                  <a:lnTo>
                    <a:pt x="1286" y="3907"/>
                  </a:lnTo>
                  <a:lnTo>
                    <a:pt x="1173" y="3636"/>
                  </a:lnTo>
                  <a:lnTo>
                    <a:pt x="900" y="3313"/>
                  </a:lnTo>
                  <a:lnTo>
                    <a:pt x="1001" y="2858"/>
                  </a:lnTo>
                  <a:lnTo>
                    <a:pt x="1364" y="2611"/>
                  </a:lnTo>
                  <a:lnTo>
                    <a:pt x="1800" y="2287"/>
                  </a:lnTo>
                  <a:lnTo>
                    <a:pt x="2123" y="1803"/>
                  </a:lnTo>
                  <a:lnTo>
                    <a:pt x="2185" y="1550"/>
                  </a:lnTo>
                  <a:lnTo>
                    <a:pt x="2632" y="1431"/>
                  </a:lnTo>
                  <a:lnTo>
                    <a:pt x="2845" y="1040"/>
                  </a:lnTo>
                  <a:lnTo>
                    <a:pt x="2945" y="733"/>
                  </a:lnTo>
                  <a:lnTo>
                    <a:pt x="2762" y="444"/>
                  </a:lnTo>
                  <a:lnTo>
                    <a:pt x="2365" y="278"/>
                  </a:lnTo>
                  <a:lnTo>
                    <a:pt x="2472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1" name="Shape">
              <a:extLst>
                <a:ext uri="{FF2B5EF4-FFF2-40B4-BE49-F238E27FC236}">
                  <a16:creationId xmlns:a16="http://schemas.microsoft.com/office/drawing/2014/main" id="{684F857E-8B56-428C-B51C-5468B14AFBD6}"/>
                </a:ext>
              </a:extLst>
            </p:cNvPr>
            <p:cNvSpPr/>
            <p:nvPr/>
          </p:nvSpPr>
          <p:spPr>
            <a:xfrm>
              <a:off x="1498649" y="2829760"/>
              <a:ext cx="2158451" cy="32021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3188"/>
                  </a:moveTo>
                  <a:lnTo>
                    <a:pt x="16246" y="18841"/>
                  </a:lnTo>
                  <a:lnTo>
                    <a:pt x="15689" y="18483"/>
                  </a:lnTo>
                  <a:lnTo>
                    <a:pt x="15163" y="18138"/>
                  </a:lnTo>
                  <a:lnTo>
                    <a:pt x="14375" y="18138"/>
                  </a:lnTo>
                  <a:lnTo>
                    <a:pt x="13986" y="18380"/>
                  </a:lnTo>
                  <a:lnTo>
                    <a:pt x="13785" y="18756"/>
                  </a:lnTo>
                  <a:lnTo>
                    <a:pt x="13750" y="19384"/>
                  </a:lnTo>
                  <a:lnTo>
                    <a:pt x="13457" y="19603"/>
                  </a:lnTo>
                  <a:lnTo>
                    <a:pt x="13399" y="19944"/>
                  </a:lnTo>
                  <a:lnTo>
                    <a:pt x="13550" y="20373"/>
                  </a:lnTo>
                  <a:lnTo>
                    <a:pt x="13675" y="21059"/>
                  </a:lnTo>
                  <a:lnTo>
                    <a:pt x="13200" y="21600"/>
                  </a:lnTo>
                  <a:lnTo>
                    <a:pt x="0" y="8183"/>
                  </a:lnTo>
                  <a:lnTo>
                    <a:pt x="845" y="7137"/>
                  </a:lnTo>
                  <a:lnTo>
                    <a:pt x="350" y="6824"/>
                  </a:lnTo>
                  <a:lnTo>
                    <a:pt x="3822" y="0"/>
                  </a:lnTo>
                  <a:cubicBezTo>
                    <a:pt x="6778" y="638"/>
                    <a:pt x="9757" y="1225"/>
                    <a:pt x="12757" y="1762"/>
                  </a:cubicBezTo>
                  <a:cubicBezTo>
                    <a:pt x="15687" y="2286"/>
                    <a:pt x="18635" y="2762"/>
                    <a:pt x="21600" y="3188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2" name="Shape">
              <a:extLst>
                <a:ext uri="{FF2B5EF4-FFF2-40B4-BE49-F238E27FC236}">
                  <a16:creationId xmlns:a16="http://schemas.microsoft.com/office/drawing/2014/main" id="{09C05E06-01FE-4EA6-A1F7-7BD5C0E575F4}"/>
                </a:ext>
              </a:extLst>
            </p:cNvPr>
            <p:cNvSpPr/>
            <p:nvPr/>
          </p:nvSpPr>
          <p:spPr>
            <a:xfrm>
              <a:off x="3183035" y="3303023"/>
              <a:ext cx="1889369" cy="22758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709" y="21600"/>
                  </a:moveTo>
                  <a:lnTo>
                    <a:pt x="21600" y="6331"/>
                  </a:lnTo>
                  <a:lnTo>
                    <a:pt x="14687" y="5349"/>
                  </a:lnTo>
                  <a:lnTo>
                    <a:pt x="15662" y="1713"/>
                  </a:lnTo>
                  <a:cubicBezTo>
                    <a:pt x="13954" y="1468"/>
                    <a:pt x="12250" y="1207"/>
                    <a:pt x="10550" y="929"/>
                  </a:cubicBezTo>
                  <a:cubicBezTo>
                    <a:pt x="8766" y="637"/>
                    <a:pt x="6987" y="328"/>
                    <a:pt x="5213" y="0"/>
                  </a:cubicBezTo>
                  <a:lnTo>
                    <a:pt x="0" y="18738"/>
                  </a:lnTo>
                  <a:lnTo>
                    <a:pt x="18709" y="2160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3" name="Shape">
              <a:extLst>
                <a:ext uri="{FF2B5EF4-FFF2-40B4-BE49-F238E27FC236}">
                  <a16:creationId xmlns:a16="http://schemas.microsoft.com/office/drawing/2014/main" id="{E42DF1CE-7045-42C8-A8F8-8A365F3194EA}"/>
                </a:ext>
              </a:extLst>
            </p:cNvPr>
            <p:cNvSpPr/>
            <p:nvPr/>
          </p:nvSpPr>
          <p:spPr>
            <a:xfrm>
              <a:off x="4803403" y="3967903"/>
              <a:ext cx="2387378" cy="188950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030" y="21600"/>
                  </a:moveTo>
                  <a:cubicBezTo>
                    <a:pt x="20365" y="18528"/>
                    <a:pt x="20664" y="15450"/>
                    <a:pt x="20927" y="12367"/>
                  </a:cubicBezTo>
                  <a:cubicBezTo>
                    <a:pt x="21186" y="9337"/>
                    <a:pt x="21410" y="6304"/>
                    <a:pt x="21600" y="3267"/>
                  </a:cubicBezTo>
                  <a:cubicBezTo>
                    <a:pt x="20068" y="3016"/>
                    <a:pt x="18534" y="2778"/>
                    <a:pt x="16999" y="2554"/>
                  </a:cubicBezTo>
                  <a:cubicBezTo>
                    <a:pt x="15330" y="2311"/>
                    <a:pt x="13660" y="2083"/>
                    <a:pt x="11992" y="1827"/>
                  </a:cubicBezTo>
                  <a:cubicBezTo>
                    <a:pt x="8749" y="1328"/>
                    <a:pt x="5517" y="718"/>
                    <a:pt x="2299" y="0"/>
                  </a:cubicBezTo>
                  <a:lnTo>
                    <a:pt x="0" y="18454"/>
                  </a:lnTo>
                  <a:cubicBezTo>
                    <a:pt x="3318" y="19096"/>
                    <a:pt x="6643" y="19679"/>
                    <a:pt x="9974" y="20203"/>
                  </a:cubicBezTo>
                  <a:cubicBezTo>
                    <a:pt x="13321" y="20728"/>
                    <a:pt x="16673" y="21194"/>
                    <a:pt x="20030" y="2160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4" name="Shape">
              <a:extLst>
                <a:ext uri="{FF2B5EF4-FFF2-40B4-BE49-F238E27FC236}">
                  <a16:creationId xmlns:a16="http://schemas.microsoft.com/office/drawing/2014/main" id="{8B3EEB39-1F8E-44A8-BA53-CCAE0215C926}"/>
                </a:ext>
              </a:extLst>
            </p:cNvPr>
            <p:cNvSpPr/>
            <p:nvPr/>
          </p:nvSpPr>
          <p:spPr>
            <a:xfrm>
              <a:off x="7011358" y="4614309"/>
              <a:ext cx="2426252" cy="13157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21406" y="7771"/>
                  </a:lnTo>
                  <a:lnTo>
                    <a:pt x="20892" y="6821"/>
                  </a:lnTo>
                  <a:lnTo>
                    <a:pt x="20758" y="5382"/>
                  </a:lnTo>
                  <a:lnTo>
                    <a:pt x="20850" y="4653"/>
                  </a:lnTo>
                  <a:lnTo>
                    <a:pt x="21002" y="3821"/>
                  </a:lnTo>
                  <a:lnTo>
                    <a:pt x="20587" y="2938"/>
                  </a:lnTo>
                  <a:lnTo>
                    <a:pt x="20107" y="2072"/>
                  </a:lnTo>
                  <a:lnTo>
                    <a:pt x="19515" y="1416"/>
                  </a:lnTo>
                  <a:cubicBezTo>
                    <a:pt x="16522" y="1405"/>
                    <a:pt x="13529" y="1287"/>
                    <a:pt x="10538" y="1059"/>
                  </a:cubicBezTo>
                  <a:cubicBezTo>
                    <a:pt x="7433" y="823"/>
                    <a:pt x="4332" y="470"/>
                    <a:pt x="1235" y="0"/>
                  </a:cubicBezTo>
                  <a:lnTo>
                    <a:pt x="0" y="19999"/>
                  </a:lnTo>
                  <a:cubicBezTo>
                    <a:pt x="3588" y="20449"/>
                    <a:pt x="7179" y="20807"/>
                    <a:pt x="10772" y="21074"/>
                  </a:cubicBezTo>
                  <a:cubicBezTo>
                    <a:pt x="14380" y="21342"/>
                    <a:pt x="17990" y="21517"/>
                    <a:pt x="21600" y="2160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5" name="Shape">
              <a:extLst>
                <a:ext uri="{FF2B5EF4-FFF2-40B4-BE49-F238E27FC236}">
                  <a16:creationId xmlns:a16="http://schemas.microsoft.com/office/drawing/2014/main" id="{D431AEA0-8622-489B-9414-BBB43BA1B1EB}"/>
                </a:ext>
              </a:extLst>
            </p:cNvPr>
            <p:cNvSpPr/>
            <p:nvPr/>
          </p:nvSpPr>
          <p:spPr>
            <a:xfrm>
              <a:off x="9116890" y="4481654"/>
              <a:ext cx="2139991" cy="17903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92" y="20264"/>
                  </a:moveTo>
                  <a:lnTo>
                    <a:pt x="17895" y="19608"/>
                  </a:lnTo>
                  <a:lnTo>
                    <a:pt x="18153" y="20335"/>
                  </a:lnTo>
                  <a:lnTo>
                    <a:pt x="17920" y="20894"/>
                  </a:lnTo>
                  <a:lnTo>
                    <a:pt x="18477" y="21600"/>
                  </a:lnTo>
                  <a:lnTo>
                    <a:pt x="19868" y="21396"/>
                  </a:lnTo>
                  <a:lnTo>
                    <a:pt x="20056" y="20498"/>
                  </a:lnTo>
                  <a:lnTo>
                    <a:pt x="20056" y="19677"/>
                  </a:lnTo>
                  <a:lnTo>
                    <a:pt x="20148" y="19177"/>
                  </a:lnTo>
                  <a:lnTo>
                    <a:pt x="21412" y="18787"/>
                  </a:lnTo>
                  <a:lnTo>
                    <a:pt x="21600" y="17985"/>
                  </a:lnTo>
                  <a:lnTo>
                    <a:pt x="21333" y="17132"/>
                  </a:lnTo>
                  <a:lnTo>
                    <a:pt x="20505" y="16683"/>
                  </a:lnTo>
                  <a:lnTo>
                    <a:pt x="20082" y="16083"/>
                  </a:lnTo>
                  <a:lnTo>
                    <a:pt x="19927" y="15529"/>
                  </a:lnTo>
                  <a:lnTo>
                    <a:pt x="20023" y="13795"/>
                  </a:lnTo>
                  <a:lnTo>
                    <a:pt x="19175" y="13338"/>
                  </a:lnTo>
                  <a:lnTo>
                    <a:pt x="18189" y="12080"/>
                  </a:lnTo>
                  <a:lnTo>
                    <a:pt x="17749" y="11768"/>
                  </a:lnTo>
                  <a:lnTo>
                    <a:pt x="17484" y="11033"/>
                  </a:lnTo>
                  <a:lnTo>
                    <a:pt x="17606" y="10324"/>
                  </a:lnTo>
                  <a:lnTo>
                    <a:pt x="18122" y="9774"/>
                  </a:lnTo>
                  <a:lnTo>
                    <a:pt x="17971" y="8478"/>
                  </a:lnTo>
                  <a:lnTo>
                    <a:pt x="17394" y="7679"/>
                  </a:lnTo>
                  <a:lnTo>
                    <a:pt x="16537" y="7819"/>
                  </a:lnTo>
                  <a:lnTo>
                    <a:pt x="15017" y="5668"/>
                  </a:lnTo>
                  <a:lnTo>
                    <a:pt x="13773" y="4660"/>
                  </a:lnTo>
                  <a:lnTo>
                    <a:pt x="13559" y="3159"/>
                  </a:lnTo>
                  <a:lnTo>
                    <a:pt x="13433" y="1740"/>
                  </a:lnTo>
                  <a:lnTo>
                    <a:pt x="12963" y="1143"/>
                  </a:lnTo>
                  <a:lnTo>
                    <a:pt x="12325" y="0"/>
                  </a:lnTo>
                  <a:lnTo>
                    <a:pt x="0" y="258"/>
                  </a:lnTo>
                  <a:lnTo>
                    <a:pt x="468" y="1192"/>
                  </a:lnTo>
                  <a:lnTo>
                    <a:pt x="499" y="1919"/>
                  </a:lnTo>
                  <a:lnTo>
                    <a:pt x="840" y="2679"/>
                  </a:lnTo>
                  <a:lnTo>
                    <a:pt x="2463" y="4473"/>
                  </a:lnTo>
                  <a:lnTo>
                    <a:pt x="2176" y="5221"/>
                  </a:lnTo>
                  <a:lnTo>
                    <a:pt x="2225" y="6605"/>
                  </a:lnTo>
                  <a:lnTo>
                    <a:pt x="2977" y="7503"/>
                  </a:lnTo>
                  <a:lnTo>
                    <a:pt x="3192" y="20264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6" name="Shape">
              <a:extLst>
                <a:ext uri="{FF2B5EF4-FFF2-40B4-BE49-F238E27FC236}">
                  <a16:creationId xmlns:a16="http://schemas.microsoft.com/office/drawing/2014/main" id="{3CB8FABD-922C-4ED2-BB84-D08CB305478A}"/>
                </a:ext>
              </a:extLst>
            </p:cNvPr>
            <p:cNvSpPr/>
            <p:nvPr/>
          </p:nvSpPr>
          <p:spPr>
            <a:xfrm>
              <a:off x="11084895" y="4924993"/>
              <a:ext cx="2390790" cy="11977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38" y="18171"/>
                  </a:moveTo>
                  <a:lnTo>
                    <a:pt x="17832" y="16579"/>
                  </a:lnTo>
                  <a:lnTo>
                    <a:pt x="18622" y="16027"/>
                  </a:lnTo>
                  <a:lnTo>
                    <a:pt x="19109" y="15191"/>
                  </a:lnTo>
                  <a:lnTo>
                    <a:pt x="18943" y="13902"/>
                  </a:lnTo>
                  <a:lnTo>
                    <a:pt x="19472" y="13784"/>
                  </a:lnTo>
                  <a:lnTo>
                    <a:pt x="19640" y="12446"/>
                  </a:lnTo>
                  <a:lnTo>
                    <a:pt x="20425" y="11824"/>
                  </a:lnTo>
                  <a:lnTo>
                    <a:pt x="20803" y="11038"/>
                  </a:lnTo>
                  <a:lnTo>
                    <a:pt x="21222" y="10041"/>
                  </a:lnTo>
                  <a:lnTo>
                    <a:pt x="21600" y="8278"/>
                  </a:lnTo>
                  <a:lnTo>
                    <a:pt x="21168" y="8089"/>
                  </a:lnTo>
                  <a:lnTo>
                    <a:pt x="20710" y="7193"/>
                  </a:lnTo>
                  <a:lnTo>
                    <a:pt x="20306" y="6867"/>
                  </a:lnTo>
                  <a:lnTo>
                    <a:pt x="20418" y="5352"/>
                  </a:lnTo>
                  <a:lnTo>
                    <a:pt x="20376" y="3627"/>
                  </a:lnTo>
                  <a:lnTo>
                    <a:pt x="19761" y="3725"/>
                  </a:lnTo>
                  <a:lnTo>
                    <a:pt x="18940" y="1743"/>
                  </a:lnTo>
                  <a:lnTo>
                    <a:pt x="18306" y="1539"/>
                  </a:lnTo>
                  <a:lnTo>
                    <a:pt x="17849" y="2237"/>
                  </a:lnTo>
                  <a:lnTo>
                    <a:pt x="17245" y="1613"/>
                  </a:lnTo>
                  <a:lnTo>
                    <a:pt x="16711" y="2034"/>
                  </a:lnTo>
                  <a:lnTo>
                    <a:pt x="15863" y="1256"/>
                  </a:lnTo>
                  <a:lnTo>
                    <a:pt x="15142" y="713"/>
                  </a:lnTo>
                  <a:lnTo>
                    <a:pt x="14456" y="772"/>
                  </a:lnTo>
                  <a:lnTo>
                    <a:pt x="13636" y="142"/>
                  </a:lnTo>
                  <a:lnTo>
                    <a:pt x="12911" y="0"/>
                  </a:lnTo>
                  <a:lnTo>
                    <a:pt x="12888" y="1842"/>
                  </a:lnTo>
                  <a:lnTo>
                    <a:pt x="12561" y="2832"/>
                  </a:lnTo>
                  <a:lnTo>
                    <a:pt x="11682" y="3252"/>
                  </a:lnTo>
                  <a:lnTo>
                    <a:pt x="11324" y="4308"/>
                  </a:lnTo>
                  <a:lnTo>
                    <a:pt x="11332" y="5854"/>
                  </a:lnTo>
                  <a:lnTo>
                    <a:pt x="10780" y="7561"/>
                  </a:lnTo>
                  <a:lnTo>
                    <a:pt x="10181" y="8738"/>
                  </a:lnTo>
                  <a:lnTo>
                    <a:pt x="9762" y="8630"/>
                  </a:lnTo>
                  <a:lnTo>
                    <a:pt x="9156" y="7298"/>
                  </a:lnTo>
                  <a:lnTo>
                    <a:pt x="8594" y="8468"/>
                  </a:lnTo>
                  <a:lnTo>
                    <a:pt x="8551" y="9650"/>
                  </a:lnTo>
                  <a:lnTo>
                    <a:pt x="7816" y="9488"/>
                  </a:lnTo>
                  <a:lnTo>
                    <a:pt x="7169" y="10291"/>
                  </a:lnTo>
                  <a:lnTo>
                    <a:pt x="6528" y="10070"/>
                  </a:lnTo>
                  <a:lnTo>
                    <a:pt x="5981" y="9688"/>
                  </a:lnTo>
                  <a:lnTo>
                    <a:pt x="5490" y="10238"/>
                  </a:lnTo>
                  <a:lnTo>
                    <a:pt x="5056" y="10098"/>
                  </a:lnTo>
                  <a:lnTo>
                    <a:pt x="4788" y="10989"/>
                  </a:lnTo>
                  <a:lnTo>
                    <a:pt x="4237" y="11763"/>
                  </a:lnTo>
                  <a:lnTo>
                    <a:pt x="4278" y="13548"/>
                  </a:lnTo>
                  <a:lnTo>
                    <a:pt x="4089" y="14568"/>
                  </a:lnTo>
                  <a:lnTo>
                    <a:pt x="3206" y="15097"/>
                  </a:lnTo>
                  <a:lnTo>
                    <a:pt x="3180" y="16570"/>
                  </a:lnTo>
                  <a:lnTo>
                    <a:pt x="2736" y="16710"/>
                  </a:lnTo>
                  <a:lnTo>
                    <a:pt x="2268" y="16019"/>
                  </a:lnTo>
                  <a:lnTo>
                    <a:pt x="1701" y="15770"/>
                  </a:lnTo>
                  <a:lnTo>
                    <a:pt x="1628" y="17001"/>
                  </a:lnTo>
                  <a:lnTo>
                    <a:pt x="1099" y="17996"/>
                  </a:lnTo>
                  <a:lnTo>
                    <a:pt x="1476" y="18946"/>
                  </a:lnTo>
                  <a:lnTo>
                    <a:pt x="1254" y="20036"/>
                  </a:lnTo>
                  <a:lnTo>
                    <a:pt x="90" y="20433"/>
                  </a:lnTo>
                  <a:lnTo>
                    <a:pt x="0" y="21600"/>
                  </a:lnTo>
                  <a:lnTo>
                    <a:pt x="4598" y="21176"/>
                  </a:lnTo>
                  <a:lnTo>
                    <a:pt x="4088" y="20037"/>
                  </a:lnTo>
                  <a:lnTo>
                    <a:pt x="17338" y="18171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7" name="Shape">
              <a:extLst>
                <a:ext uri="{FF2B5EF4-FFF2-40B4-BE49-F238E27FC236}">
                  <a16:creationId xmlns:a16="http://schemas.microsoft.com/office/drawing/2014/main" id="{BC62EAE6-DD8A-4DA6-BCBD-8BF01DEE8DDC}"/>
                </a:ext>
              </a:extLst>
            </p:cNvPr>
            <p:cNvSpPr/>
            <p:nvPr/>
          </p:nvSpPr>
          <p:spPr>
            <a:xfrm>
              <a:off x="2561442" y="5270409"/>
              <a:ext cx="2261978" cy="255468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45" y="0"/>
                  </a:moveTo>
                  <a:lnTo>
                    <a:pt x="5232" y="2703"/>
                  </a:lnTo>
                  <a:lnTo>
                    <a:pt x="4541" y="1923"/>
                  </a:lnTo>
                  <a:lnTo>
                    <a:pt x="3521" y="1922"/>
                  </a:lnTo>
                  <a:lnTo>
                    <a:pt x="2922" y="2495"/>
                  </a:lnTo>
                  <a:lnTo>
                    <a:pt x="2847" y="2917"/>
                  </a:lnTo>
                  <a:lnTo>
                    <a:pt x="2875" y="3609"/>
                  </a:lnTo>
                  <a:lnTo>
                    <a:pt x="2502" y="4002"/>
                  </a:lnTo>
                  <a:lnTo>
                    <a:pt x="2533" y="4515"/>
                  </a:lnTo>
                  <a:lnTo>
                    <a:pt x="2823" y="5703"/>
                  </a:lnTo>
                  <a:lnTo>
                    <a:pt x="2311" y="6325"/>
                  </a:lnTo>
                  <a:lnTo>
                    <a:pt x="2632" y="7279"/>
                  </a:lnTo>
                  <a:lnTo>
                    <a:pt x="2946" y="8379"/>
                  </a:lnTo>
                  <a:lnTo>
                    <a:pt x="3297" y="8783"/>
                  </a:lnTo>
                  <a:lnTo>
                    <a:pt x="2532" y="9360"/>
                  </a:lnTo>
                  <a:lnTo>
                    <a:pt x="2059" y="10264"/>
                  </a:lnTo>
                  <a:lnTo>
                    <a:pt x="1600" y="10630"/>
                  </a:lnTo>
                  <a:lnTo>
                    <a:pt x="645" y="12205"/>
                  </a:lnTo>
                  <a:lnTo>
                    <a:pt x="948" y="12895"/>
                  </a:lnTo>
                  <a:lnTo>
                    <a:pt x="1566" y="13447"/>
                  </a:lnTo>
                  <a:lnTo>
                    <a:pt x="1698" y="13888"/>
                  </a:lnTo>
                  <a:lnTo>
                    <a:pt x="1080" y="13953"/>
                  </a:lnTo>
                  <a:lnTo>
                    <a:pt x="471" y="13967"/>
                  </a:lnTo>
                  <a:lnTo>
                    <a:pt x="0" y="14701"/>
                  </a:lnTo>
                  <a:lnTo>
                    <a:pt x="11663" y="20558"/>
                  </a:lnTo>
                  <a:lnTo>
                    <a:pt x="18551" y="21600"/>
                  </a:lnTo>
                  <a:lnTo>
                    <a:pt x="21600" y="2512"/>
                  </a:lnTo>
                  <a:cubicBezTo>
                    <a:pt x="18978" y="2078"/>
                    <a:pt x="16354" y="1651"/>
                    <a:pt x="13730" y="1230"/>
                  </a:cubicBezTo>
                  <a:cubicBezTo>
                    <a:pt x="11136" y="814"/>
                    <a:pt x="8541" y="404"/>
                    <a:pt x="5945" y="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8" name="Shape">
              <a:extLst>
                <a:ext uri="{FF2B5EF4-FFF2-40B4-BE49-F238E27FC236}">
                  <a16:creationId xmlns:a16="http://schemas.microsoft.com/office/drawing/2014/main" id="{B823A981-B0BC-4D5C-B412-2E552CC6421E}"/>
                </a:ext>
              </a:extLst>
            </p:cNvPr>
            <p:cNvSpPr/>
            <p:nvPr/>
          </p:nvSpPr>
          <p:spPr>
            <a:xfrm>
              <a:off x="4482531" y="5569094"/>
              <a:ext cx="2233528" cy="23044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98"/>
                  </a:moveTo>
                  <a:lnTo>
                    <a:pt x="20005" y="21126"/>
                  </a:lnTo>
                  <a:lnTo>
                    <a:pt x="8598" y="19995"/>
                  </a:lnTo>
                  <a:lnTo>
                    <a:pt x="8441" y="20734"/>
                  </a:lnTo>
                  <a:lnTo>
                    <a:pt x="2950" y="19891"/>
                  </a:lnTo>
                  <a:lnTo>
                    <a:pt x="2574" y="21600"/>
                  </a:lnTo>
                  <a:lnTo>
                    <a:pt x="0" y="21113"/>
                  </a:lnTo>
                  <a:lnTo>
                    <a:pt x="3152" y="0"/>
                  </a:lnTo>
                  <a:cubicBezTo>
                    <a:pt x="6282" y="509"/>
                    <a:pt x="9424" y="950"/>
                    <a:pt x="12574" y="1322"/>
                  </a:cubicBezTo>
                  <a:cubicBezTo>
                    <a:pt x="15576" y="1677"/>
                    <a:pt x="18585" y="1969"/>
                    <a:pt x="21600" y="2198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89" name="Shape">
              <a:extLst>
                <a:ext uri="{FF2B5EF4-FFF2-40B4-BE49-F238E27FC236}">
                  <a16:creationId xmlns:a16="http://schemas.microsoft.com/office/drawing/2014/main" id="{0AB134B9-4E8B-4576-A7E6-15950D4E491A}"/>
                </a:ext>
              </a:extLst>
            </p:cNvPr>
            <p:cNvSpPr/>
            <p:nvPr/>
          </p:nvSpPr>
          <p:spPr>
            <a:xfrm>
              <a:off x="6691084" y="5796887"/>
              <a:ext cx="2814838" cy="15442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61" h="21600" extrusionOk="0">
                  <a:moveTo>
                    <a:pt x="21134" y="1829"/>
                  </a:moveTo>
                  <a:cubicBezTo>
                    <a:pt x="21096" y="3441"/>
                    <a:pt x="21107" y="5056"/>
                    <a:pt x="21166" y="6667"/>
                  </a:cubicBezTo>
                  <a:cubicBezTo>
                    <a:pt x="21226" y="8284"/>
                    <a:pt x="21335" y="9893"/>
                    <a:pt x="21413" y="11508"/>
                  </a:cubicBezTo>
                  <a:cubicBezTo>
                    <a:pt x="21566" y="14663"/>
                    <a:pt x="21600" y="17835"/>
                    <a:pt x="21515" y="20999"/>
                  </a:cubicBezTo>
                  <a:lnTo>
                    <a:pt x="21363" y="21600"/>
                  </a:lnTo>
                  <a:lnTo>
                    <a:pt x="20830" y="20956"/>
                  </a:lnTo>
                  <a:lnTo>
                    <a:pt x="20291" y="20026"/>
                  </a:lnTo>
                  <a:lnTo>
                    <a:pt x="19584" y="19960"/>
                  </a:lnTo>
                  <a:lnTo>
                    <a:pt x="18614" y="19895"/>
                  </a:lnTo>
                  <a:lnTo>
                    <a:pt x="17651" y="19944"/>
                  </a:lnTo>
                  <a:lnTo>
                    <a:pt x="17080" y="20333"/>
                  </a:lnTo>
                  <a:lnTo>
                    <a:pt x="16719" y="20803"/>
                  </a:lnTo>
                  <a:lnTo>
                    <a:pt x="16582" y="19919"/>
                  </a:lnTo>
                  <a:lnTo>
                    <a:pt x="16193" y="19596"/>
                  </a:lnTo>
                  <a:lnTo>
                    <a:pt x="15621" y="19335"/>
                  </a:lnTo>
                  <a:lnTo>
                    <a:pt x="15225" y="18878"/>
                  </a:lnTo>
                  <a:lnTo>
                    <a:pt x="15128" y="19746"/>
                  </a:lnTo>
                  <a:lnTo>
                    <a:pt x="14966" y="20289"/>
                  </a:lnTo>
                  <a:lnTo>
                    <a:pt x="14659" y="19427"/>
                  </a:lnTo>
                  <a:lnTo>
                    <a:pt x="14330" y="20240"/>
                  </a:lnTo>
                  <a:lnTo>
                    <a:pt x="13918" y="19914"/>
                  </a:lnTo>
                  <a:lnTo>
                    <a:pt x="13177" y="20235"/>
                  </a:lnTo>
                  <a:lnTo>
                    <a:pt x="12652" y="19672"/>
                  </a:lnTo>
                  <a:lnTo>
                    <a:pt x="12460" y="18829"/>
                  </a:lnTo>
                  <a:lnTo>
                    <a:pt x="12117" y="17919"/>
                  </a:lnTo>
                  <a:lnTo>
                    <a:pt x="11687" y="18283"/>
                  </a:lnTo>
                  <a:lnTo>
                    <a:pt x="11449" y="18919"/>
                  </a:lnTo>
                  <a:lnTo>
                    <a:pt x="11036" y="18422"/>
                  </a:lnTo>
                  <a:lnTo>
                    <a:pt x="10467" y="18098"/>
                  </a:lnTo>
                  <a:lnTo>
                    <a:pt x="9927" y="17837"/>
                  </a:lnTo>
                  <a:lnTo>
                    <a:pt x="9568" y="17125"/>
                  </a:lnTo>
                  <a:lnTo>
                    <a:pt x="9084" y="15888"/>
                  </a:lnTo>
                  <a:lnTo>
                    <a:pt x="8222" y="15695"/>
                  </a:lnTo>
                  <a:lnTo>
                    <a:pt x="7216" y="15369"/>
                  </a:lnTo>
                  <a:lnTo>
                    <a:pt x="7294" y="4173"/>
                  </a:lnTo>
                  <a:lnTo>
                    <a:pt x="0" y="3064"/>
                  </a:lnTo>
                  <a:lnTo>
                    <a:pt x="74" y="0"/>
                  </a:lnTo>
                  <a:lnTo>
                    <a:pt x="2490" y="582"/>
                  </a:lnTo>
                  <a:lnTo>
                    <a:pt x="2663" y="313"/>
                  </a:lnTo>
                  <a:cubicBezTo>
                    <a:pt x="5830" y="688"/>
                    <a:pt x="9000" y="1004"/>
                    <a:pt x="12171" y="1261"/>
                  </a:cubicBezTo>
                  <a:cubicBezTo>
                    <a:pt x="15157" y="1503"/>
                    <a:pt x="18145" y="1692"/>
                    <a:pt x="21134" y="1829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0" name="Shape">
              <a:extLst>
                <a:ext uri="{FF2B5EF4-FFF2-40B4-BE49-F238E27FC236}">
                  <a16:creationId xmlns:a16="http://schemas.microsoft.com/office/drawing/2014/main" id="{BF887C04-BE37-43E3-A770-EBB81D3B5683}"/>
                </a:ext>
              </a:extLst>
            </p:cNvPr>
            <p:cNvSpPr/>
            <p:nvPr/>
          </p:nvSpPr>
          <p:spPr>
            <a:xfrm>
              <a:off x="13901229" y="2033810"/>
              <a:ext cx="2434719" cy="17950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64" y="17346"/>
                  </a:moveTo>
                  <a:lnTo>
                    <a:pt x="21600" y="18029"/>
                  </a:lnTo>
                  <a:lnTo>
                    <a:pt x="19445" y="19958"/>
                  </a:lnTo>
                  <a:lnTo>
                    <a:pt x="18156" y="20835"/>
                  </a:lnTo>
                  <a:lnTo>
                    <a:pt x="18176" y="20101"/>
                  </a:lnTo>
                  <a:lnTo>
                    <a:pt x="16606" y="21486"/>
                  </a:lnTo>
                  <a:lnTo>
                    <a:pt x="16116" y="21600"/>
                  </a:lnTo>
                  <a:lnTo>
                    <a:pt x="16319" y="20704"/>
                  </a:lnTo>
                  <a:lnTo>
                    <a:pt x="16245" y="20094"/>
                  </a:lnTo>
                  <a:lnTo>
                    <a:pt x="15863" y="19439"/>
                  </a:lnTo>
                  <a:cubicBezTo>
                    <a:pt x="15520" y="19328"/>
                    <a:pt x="15176" y="19226"/>
                    <a:pt x="14830" y="19134"/>
                  </a:cubicBezTo>
                  <a:cubicBezTo>
                    <a:pt x="14452" y="19032"/>
                    <a:pt x="14072" y="18941"/>
                    <a:pt x="13691" y="18861"/>
                  </a:cubicBezTo>
                  <a:lnTo>
                    <a:pt x="12845" y="18435"/>
                  </a:lnTo>
                  <a:lnTo>
                    <a:pt x="12027" y="16384"/>
                  </a:lnTo>
                  <a:cubicBezTo>
                    <a:pt x="11914" y="16301"/>
                    <a:pt x="11792" y="16243"/>
                    <a:pt x="11665" y="16214"/>
                  </a:cubicBezTo>
                  <a:cubicBezTo>
                    <a:pt x="11519" y="16180"/>
                    <a:pt x="11369" y="16184"/>
                    <a:pt x="11224" y="16226"/>
                  </a:cubicBezTo>
                  <a:lnTo>
                    <a:pt x="243" y="19259"/>
                  </a:lnTo>
                  <a:lnTo>
                    <a:pt x="0" y="18091"/>
                  </a:lnTo>
                  <a:lnTo>
                    <a:pt x="511" y="17369"/>
                  </a:lnTo>
                  <a:lnTo>
                    <a:pt x="1219" y="16452"/>
                  </a:lnTo>
                  <a:lnTo>
                    <a:pt x="1662" y="15799"/>
                  </a:lnTo>
                  <a:lnTo>
                    <a:pt x="1745" y="14943"/>
                  </a:lnTo>
                  <a:lnTo>
                    <a:pt x="1909" y="13922"/>
                  </a:lnTo>
                  <a:lnTo>
                    <a:pt x="1278" y="13926"/>
                  </a:lnTo>
                  <a:lnTo>
                    <a:pt x="1279" y="12884"/>
                  </a:lnTo>
                  <a:lnTo>
                    <a:pt x="1360" y="12217"/>
                  </a:lnTo>
                  <a:lnTo>
                    <a:pt x="2159" y="11627"/>
                  </a:lnTo>
                  <a:lnTo>
                    <a:pt x="2747" y="11684"/>
                  </a:lnTo>
                  <a:lnTo>
                    <a:pt x="3695" y="11578"/>
                  </a:lnTo>
                  <a:lnTo>
                    <a:pt x="4397" y="11578"/>
                  </a:lnTo>
                  <a:lnTo>
                    <a:pt x="4918" y="11784"/>
                  </a:lnTo>
                  <a:lnTo>
                    <a:pt x="5413" y="11616"/>
                  </a:lnTo>
                  <a:lnTo>
                    <a:pt x="5783" y="11171"/>
                  </a:lnTo>
                  <a:lnTo>
                    <a:pt x="6316" y="11101"/>
                  </a:lnTo>
                  <a:lnTo>
                    <a:pt x="7097" y="10965"/>
                  </a:lnTo>
                  <a:lnTo>
                    <a:pt x="7304" y="10312"/>
                  </a:lnTo>
                  <a:lnTo>
                    <a:pt x="7580" y="9569"/>
                  </a:lnTo>
                  <a:lnTo>
                    <a:pt x="8077" y="9404"/>
                  </a:lnTo>
                  <a:lnTo>
                    <a:pt x="8077" y="8555"/>
                  </a:lnTo>
                  <a:lnTo>
                    <a:pt x="7873" y="7847"/>
                  </a:lnTo>
                  <a:lnTo>
                    <a:pt x="7714" y="7182"/>
                  </a:lnTo>
                  <a:lnTo>
                    <a:pt x="7759" y="6248"/>
                  </a:lnTo>
                  <a:lnTo>
                    <a:pt x="8226" y="5488"/>
                  </a:lnTo>
                  <a:lnTo>
                    <a:pt x="8802" y="3164"/>
                  </a:lnTo>
                  <a:lnTo>
                    <a:pt x="10182" y="1203"/>
                  </a:lnTo>
                  <a:lnTo>
                    <a:pt x="11094" y="1072"/>
                  </a:lnTo>
                  <a:lnTo>
                    <a:pt x="12526" y="414"/>
                  </a:lnTo>
                  <a:lnTo>
                    <a:pt x="14195" y="0"/>
                  </a:lnTo>
                  <a:lnTo>
                    <a:pt x="14252" y="1069"/>
                  </a:lnTo>
                  <a:lnTo>
                    <a:pt x="14376" y="2048"/>
                  </a:lnTo>
                  <a:lnTo>
                    <a:pt x="14733" y="2925"/>
                  </a:lnTo>
                  <a:lnTo>
                    <a:pt x="14816" y="3856"/>
                  </a:lnTo>
                  <a:lnTo>
                    <a:pt x="14816" y="4597"/>
                  </a:lnTo>
                  <a:lnTo>
                    <a:pt x="14899" y="5547"/>
                  </a:lnTo>
                  <a:lnTo>
                    <a:pt x="15020" y="6267"/>
                  </a:lnTo>
                  <a:lnTo>
                    <a:pt x="15511" y="6974"/>
                  </a:lnTo>
                  <a:lnTo>
                    <a:pt x="15994" y="8318"/>
                  </a:lnTo>
                  <a:lnTo>
                    <a:pt x="15885" y="9642"/>
                  </a:lnTo>
                  <a:lnTo>
                    <a:pt x="15968" y="10690"/>
                  </a:lnTo>
                  <a:lnTo>
                    <a:pt x="16392" y="11308"/>
                  </a:lnTo>
                  <a:lnTo>
                    <a:pt x="16351" y="12016"/>
                  </a:lnTo>
                  <a:lnTo>
                    <a:pt x="16227" y="13415"/>
                  </a:lnTo>
                  <a:lnTo>
                    <a:pt x="16268" y="14477"/>
                  </a:lnTo>
                  <a:lnTo>
                    <a:pt x="16433" y="15543"/>
                  </a:lnTo>
                  <a:lnTo>
                    <a:pt x="16544" y="16308"/>
                  </a:lnTo>
                  <a:lnTo>
                    <a:pt x="16708" y="17674"/>
                  </a:lnTo>
                  <a:lnTo>
                    <a:pt x="16872" y="18448"/>
                  </a:lnTo>
                  <a:lnTo>
                    <a:pt x="16747" y="19400"/>
                  </a:lnTo>
                  <a:lnTo>
                    <a:pt x="16785" y="20385"/>
                  </a:lnTo>
                  <a:lnTo>
                    <a:pt x="17430" y="19602"/>
                  </a:lnTo>
                  <a:lnTo>
                    <a:pt x="18584" y="18989"/>
                  </a:lnTo>
                  <a:lnTo>
                    <a:pt x="19694" y="18654"/>
                  </a:lnTo>
                  <a:lnTo>
                    <a:pt x="20329" y="17553"/>
                  </a:lnTo>
                  <a:lnTo>
                    <a:pt x="21364" y="17346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1" name="Shape">
              <a:extLst>
                <a:ext uri="{FF2B5EF4-FFF2-40B4-BE49-F238E27FC236}">
                  <a16:creationId xmlns:a16="http://schemas.microsoft.com/office/drawing/2014/main" id="{10C1C36E-7CEB-4BBA-BB58-112D45937942}"/>
                </a:ext>
              </a:extLst>
            </p:cNvPr>
            <p:cNvSpPr/>
            <p:nvPr/>
          </p:nvSpPr>
          <p:spPr>
            <a:xfrm>
              <a:off x="15497044" y="1879091"/>
              <a:ext cx="558659" cy="10106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9542" y="0"/>
                  </a:moveTo>
                  <a:lnTo>
                    <a:pt x="20113" y="1603"/>
                  </a:lnTo>
                  <a:lnTo>
                    <a:pt x="19777" y="3123"/>
                  </a:lnTo>
                  <a:lnTo>
                    <a:pt x="21600" y="4260"/>
                  </a:lnTo>
                  <a:lnTo>
                    <a:pt x="21420" y="6113"/>
                  </a:lnTo>
                  <a:lnTo>
                    <a:pt x="19511" y="6412"/>
                  </a:lnTo>
                  <a:lnTo>
                    <a:pt x="17744" y="7006"/>
                  </a:lnTo>
                  <a:lnTo>
                    <a:pt x="17695" y="8165"/>
                  </a:lnTo>
                  <a:lnTo>
                    <a:pt x="18319" y="10305"/>
                  </a:lnTo>
                  <a:lnTo>
                    <a:pt x="17807" y="11813"/>
                  </a:lnTo>
                  <a:lnTo>
                    <a:pt x="16365" y="13504"/>
                  </a:lnTo>
                  <a:lnTo>
                    <a:pt x="17731" y="14629"/>
                  </a:lnTo>
                  <a:lnTo>
                    <a:pt x="18314" y="16087"/>
                  </a:lnTo>
                  <a:lnTo>
                    <a:pt x="18441" y="18131"/>
                  </a:lnTo>
                  <a:lnTo>
                    <a:pt x="18855" y="20674"/>
                  </a:lnTo>
                  <a:lnTo>
                    <a:pt x="7162" y="21600"/>
                  </a:lnTo>
                  <a:lnTo>
                    <a:pt x="7281" y="19801"/>
                  </a:lnTo>
                  <a:lnTo>
                    <a:pt x="7565" y="17865"/>
                  </a:lnTo>
                  <a:lnTo>
                    <a:pt x="5581" y="15788"/>
                  </a:lnTo>
                  <a:lnTo>
                    <a:pt x="2983" y="14612"/>
                  </a:lnTo>
                  <a:lnTo>
                    <a:pt x="2219" y="11609"/>
                  </a:lnTo>
                  <a:lnTo>
                    <a:pt x="2175" y="8535"/>
                  </a:lnTo>
                  <a:lnTo>
                    <a:pt x="380" y="6977"/>
                  </a:lnTo>
                  <a:lnTo>
                    <a:pt x="0" y="3201"/>
                  </a:lnTo>
                  <a:lnTo>
                    <a:pt x="19542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2" name="Shape">
              <a:extLst>
                <a:ext uri="{FF2B5EF4-FFF2-40B4-BE49-F238E27FC236}">
                  <a16:creationId xmlns:a16="http://schemas.microsoft.com/office/drawing/2014/main" id="{0B94E5E1-9BF4-4792-A3F7-6FA17093BEEA}"/>
                </a:ext>
              </a:extLst>
            </p:cNvPr>
            <p:cNvSpPr/>
            <p:nvPr/>
          </p:nvSpPr>
          <p:spPr>
            <a:xfrm>
              <a:off x="15900145" y="1750416"/>
              <a:ext cx="598000" cy="10978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87" y="0"/>
                  </a:moveTo>
                  <a:lnTo>
                    <a:pt x="5709" y="700"/>
                  </a:lnTo>
                  <a:lnTo>
                    <a:pt x="4156" y="738"/>
                  </a:lnTo>
                  <a:lnTo>
                    <a:pt x="3263" y="2742"/>
                  </a:lnTo>
                  <a:lnTo>
                    <a:pt x="3742" y="4157"/>
                  </a:lnTo>
                  <a:lnTo>
                    <a:pt x="3288" y="5438"/>
                  </a:lnTo>
                  <a:lnTo>
                    <a:pt x="5352" y="6808"/>
                  </a:lnTo>
                  <a:lnTo>
                    <a:pt x="5015" y="8039"/>
                  </a:lnTo>
                  <a:lnTo>
                    <a:pt x="1477" y="8777"/>
                  </a:lnTo>
                  <a:lnTo>
                    <a:pt x="1545" y="11190"/>
                  </a:lnTo>
                  <a:lnTo>
                    <a:pt x="2043" y="12437"/>
                  </a:lnTo>
                  <a:lnTo>
                    <a:pt x="0" y="14774"/>
                  </a:lnTo>
                  <a:lnTo>
                    <a:pt x="1794" y="16433"/>
                  </a:lnTo>
                  <a:lnTo>
                    <a:pt x="2343" y="17917"/>
                  </a:lnTo>
                  <a:lnTo>
                    <a:pt x="2785" y="21600"/>
                  </a:lnTo>
                  <a:lnTo>
                    <a:pt x="16228" y="19707"/>
                  </a:lnTo>
                  <a:lnTo>
                    <a:pt x="16228" y="18892"/>
                  </a:lnTo>
                  <a:lnTo>
                    <a:pt x="20315" y="18169"/>
                  </a:lnTo>
                  <a:lnTo>
                    <a:pt x="21600" y="17324"/>
                  </a:lnTo>
                  <a:lnTo>
                    <a:pt x="18595" y="17145"/>
                  </a:lnTo>
                  <a:lnTo>
                    <a:pt x="6987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3" name="Shape">
              <a:extLst>
                <a:ext uri="{FF2B5EF4-FFF2-40B4-BE49-F238E27FC236}">
                  <a16:creationId xmlns:a16="http://schemas.microsoft.com/office/drawing/2014/main" id="{A96FF8CF-5386-45B6-B966-0E59486C3E13}"/>
                </a:ext>
              </a:extLst>
            </p:cNvPr>
            <p:cNvSpPr/>
            <p:nvPr/>
          </p:nvSpPr>
          <p:spPr>
            <a:xfrm>
              <a:off x="16082311" y="781381"/>
              <a:ext cx="1219630" cy="186181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14" y="20123"/>
                  </a:moveTo>
                  <a:lnTo>
                    <a:pt x="7903" y="20874"/>
                  </a:lnTo>
                  <a:lnTo>
                    <a:pt x="7197" y="21600"/>
                  </a:lnTo>
                  <a:lnTo>
                    <a:pt x="5739" y="21566"/>
                  </a:lnTo>
                  <a:lnTo>
                    <a:pt x="0" y="11297"/>
                  </a:lnTo>
                  <a:lnTo>
                    <a:pt x="1063" y="11167"/>
                  </a:lnTo>
                  <a:lnTo>
                    <a:pt x="1515" y="10338"/>
                  </a:lnTo>
                  <a:lnTo>
                    <a:pt x="1432" y="9770"/>
                  </a:lnTo>
                  <a:lnTo>
                    <a:pt x="2541" y="9225"/>
                  </a:lnTo>
                  <a:lnTo>
                    <a:pt x="2186" y="8639"/>
                  </a:lnTo>
                  <a:lnTo>
                    <a:pt x="2847" y="7846"/>
                  </a:lnTo>
                  <a:lnTo>
                    <a:pt x="2413" y="7101"/>
                  </a:lnTo>
                  <a:lnTo>
                    <a:pt x="1949" y="6122"/>
                  </a:lnTo>
                  <a:lnTo>
                    <a:pt x="1701" y="5005"/>
                  </a:lnTo>
                  <a:lnTo>
                    <a:pt x="1976" y="4064"/>
                  </a:lnTo>
                  <a:lnTo>
                    <a:pt x="4045" y="0"/>
                  </a:lnTo>
                  <a:lnTo>
                    <a:pt x="4954" y="223"/>
                  </a:lnTo>
                  <a:lnTo>
                    <a:pt x="5584" y="917"/>
                  </a:lnTo>
                  <a:lnTo>
                    <a:pt x="6733" y="612"/>
                  </a:lnTo>
                  <a:lnTo>
                    <a:pt x="7029" y="40"/>
                  </a:lnTo>
                  <a:lnTo>
                    <a:pt x="8592" y="378"/>
                  </a:lnTo>
                  <a:lnTo>
                    <a:pt x="9718" y="414"/>
                  </a:lnTo>
                  <a:lnTo>
                    <a:pt x="10571" y="829"/>
                  </a:lnTo>
                  <a:lnTo>
                    <a:pt x="11717" y="883"/>
                  </a:lnTo>
                  <a:lnTo>
                    <a:pt x="12403" y="1584"/>
                  </a:lnTo>
                  <a:lnTo>
                    <a:pt x="15146" y="6789"/>
                  </a:lnTo>
                  <a:lnTo>
                    <a:pt x="16213" y="7367"/>
                  </a:lnTo>
                  <a:lnTo>
                    <a:pt x="17187" y="7242"/>
                  </a:lnTo>
                  <a:lnTo>
                    <a:pt x="18175" y="7459"/>
                  </a:lnTo>
                  <a:lnTo>
                    <a:pt x="19659" y="7856"/>
                  </a:lnTo>
                  <a:lnTo>
                    <a:pt x="20230" y="8494"/>
                  </a:lnTo>
                  <a:lnTo>
                    <a:pt x="20860" y="9392"/>
                  </a:lnTo>
                  <a:lnTo>
                    <a:pt x="21600" y="9908"/>
                  </a:lnTo>
                  <a:lnTo>
                    <a:pt x="21424" y="10693"/>
                  </a:lnTo>
                  <a:lnTo>
                    <a:pt x="20612" y="11171"/>
                  </a:lnTo>
                  <a:lnTo>
                    <a:pt x="19497" y="11171"/>
                  </a:lnTo>
                  <a:lnTo>
                    <a:pt x="19245" y="12035"/>
                  </a:lnTo>
                  <a:lnTo>
                    <a:pt x="18178" y="11873"/>
                  </a:lnTo>
                  <a:lnTo>
                    <a:pt x="18502" y="12545"/>
                  </a:lnTo>
                  <a:lnTo>
                    <a:pt x="17579" y="12581"/>
                  </a:lnTo>
                  <a:lnTo>
                    <a:pt x="17913" y="13352"/>
                  </a:lnTo>
                  <a:lnTo>
                    <a:pt x="16743" y="12921"/>
                  </a:lnTo>
                  <a:lnTo>
                    <a:pt x="16464" y="13557"/>
                  </a:lnTo>
                  <a:lnTo>
                    <a:pt x="15476" y="13131"/>
                  </a:lnTo>
                  <a:lnTo>
                    <a:pt x="14739" y="13113"/>
                  </a:lnTo>
                  <a:lnTo>
                    <a:pt x="14392" y="13661"/>
                  </a:lnTo>
                  <a:lnTo>
                    <a:pt x="13665" y="13627"/>
                  </a:lnTo>
                  <a:lnTo>
                    <a:pt x="13748" y="12838"/>
                  </a:lnTo>
                  <a:lnTo>
                    <a:pt x="12873" y="12464"/>
                  </a:lnTo>
                  <a:lnTo>
                    <a:pt x="12928" y="13165"/>
                  </a:lnTo>
                  <a:lnTo>
                    <a:pt x="13121" y="14173"/>
                  </a:lnTo>
                  <a:lnTo>
                    <a:pt x="13059" y="14854"/>
                  </a:lnTo>
                  <a:lnTo>
                    <a:pt x="12987" y="15646"/>
                  </a:lnTo>
                  <a:lnTo>
                    <a:pt x="12822" y="16230"/>
                  </a:lnTo>
                  <a:lnTo>
                    <a:pt x="12119" y="16034"/>
                  </a:lnTo>
                  <a:lnTo>
                    <a:pt x="11817" y="15639"/>
                  </a:lnTo>
                  <a:lnTo>
                    <a:pt x="10994" y="16016"/>
                  </a:lnTo>
                  <a:lnTo>
                    <a:pt x="10963" y="16704"/>
                  </a:lnTo>
                  <a:lnTo>
                    <a:pt x="10805" y="17552"/>
                  </a:lnTo>
                  <a:lnTo>
                    <a:pt x="10033" y="17272"/>
                  </a:lnTo>
                  <a:lnTo>
                    <a:pt x="9217" y="17109"/>
                  </a:lnTo>
                  <a:lnTo>
                    <a:pt x="8588" y="17588"/>
                  </a:lnTo>
                  <a:lnTo>
                    <a:pt x="9162" y="18282"/>
                  </a:lnTo>
                  <a:lnTo>
                    <a:pt x="8835" y="18814"/>
                  </a:lnTo>
                  <a:lnTo>
                    <a:pt x="8233" y="19295"/>
                  </a:lnTo>
                  <a:lnTo>
                    <a:pt x="8808" y="19850"/>
                  </a:lnTo>
                  <a:lnTo>
                    <a:pt x="7714" y="20123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4" name="Shape">
              <a:extLst>
                <a:ext uri="{FF2B5EF4-FFF2-40B4-BE49-F238E27FC236}">
                  <a16:creationId xmlns:a16="http://schemas.microsoft.com/office/drawing/2014/main" id="{F6F1D51F-9ABE-4ABD-BCB6-D308584DF4AB}"/>
                </a:ext>
              </a:extLst>
            </p:cNvPr>
            <p:cNvSpPr/>
            <p:nvPr/>
          </p:nvSpPr>
          <p:spPr>
            <a:xfrm>
              <a:off x="15685913" y="2670406"/>
              <a:ext cx="1184256" cy="5756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3550" y="0"/>
                  </a:moveTo>
                  <a:lnTo>
                    <a:pt x="14205" y="1707"/>
                  </a:lnTo>
                  <a:lnTo>
                    <a:pt x="15258" y="3197"/>
                  </a:lnTo>
                  <a:lnTo>
                    <a:pt x="14524" y="5523"/>
                  </a:lnTo>
                  <a:lnTo>
                    <a:pt x="13727" y="7544"/>
                  </a:lnTo>
                  <a:lnTo>
                    <a:pt x="14152" y="9929"/>
                  </a:lnTo>
                  <a:lnTo>
                    <a:pt x="15996" y="9820"/>
                  </a:lnTo>
                  <a:lnTo>
                    <a:pt x="17102" y="12621"/>
                  </a:lnTo>
                  <a:lnTo>
                    <a:pt x="17920" y="14991"/>
                  </a:lnTo>
                  <a:lnTo>
                    <a:pt x="19788" y="15859"/>
                  </a:lnTo>
                  <a:lnTo>
                    <a:pt x="20710" y="14532"/>
                  </a:lnTo>
                  <a:lnTo>
                    <a:pt x="19885" y="11862"/>
                  </a:lnTo>
                  <a:lnTo>
                    <a:pt x="18658" y="10987"/>
                  </a:lnTo>
                  <a:lnTo>
                    <a:pt x="19643" y="8719"/>
                  </a:lnTo>
                  <a:lnTo>
                    <a:pt x="21430" y="11403"/>
                  </a:lnTo>
                  <a:lnTo>
                    <a:pt x="21600" y="17734"/>
                  </a:lnTo>
                  <a:lnTo>
                    <a:pt x="19380" y="17384"/>
                  </a:lnTo>
                  <a:lnTo>
                    <a:pt x="18505" y="19061"/>
                  </a:lnTo>
                  <a:lnTo>
                    <a:pt x="17495" y="18733"/>
                  </a:lnTo>
                  <a:lnTo>
                    <a:pt x="16736" y="17004"/>
                  </a:lnTo>
                  <a:lnTo>
                    <a:pt x="16406" y="20068"/>
                  </a:lnTo>
                  <a:lnTo>
                    <a:pt x="15484" y="21600"/>
                  </a:lnTo>
                  <a:lnTo>
                    <a:pt x="14591" y="18434"/>
                  </a:lnTo>
                  <a:lnTo>
                    <a:pt x="13602" y="18259"/>
                  </a:lnTo>
                  <a:lnTo>
                    <a:pt x="12673" y="14488"/>
                  </a:lnTo>
                  <a:lnTo>
                    <a:pt x="690" y="20658"/>
                  </a:lnTo>
                  <a:lnTo>
                    <a:pt x="602" y="15691"/>
                  </a:lnTo>
                  <a:lnTo>
                    <a:pt x="915" y="11687"/>
                  </a:lnTo>
                  <a:lnTo>
                    <a:pt x="17" y="9433"/>
                  </a:lnTo>
                  <a:lnTo>
                    <a:pt x="0" y="7770"/>
                  </a:lnTo>
                  <a:lnTo>
                    <a:pt x="5750" y="6092"/>
                  </a:lnTo>
                  <a:lnTo>
                    <a:pt x="11995" y="2547"/>
                  </a:lnTo>
                  <a:lnTo>
                    <a:pt x="11910" y="1000"/>
                  </a:lnTo>
                  <a:lnTo>
                    <a:pt x="1355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5" name="Shape">
              <a:extLst>
                <a:ext uri="{FF2B5EF4-FFF2-40B4-BE49-F238E27FC236}">
                  <a16:creationId xmlns:a16="http://schemas.microsoft.com/office/drawing/2014/main" id="{434E54B8-EECD-48E0-8583-7CCDFCC30BF5}"/>
                </a:ext>
              </a:extLst>
            </p:cNvPr>
            <p:cNvSpPr/>
            <p:nvPr/>
          </p:nvSpPr>
          <p:spPr>
            <a:xfrm>
              <a:off x="15713499" y="3076365"/>
              <a:ext cx="606837" cy="5784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198"/>
                  </a:moveTo>
                  <a:lnTo>
                    <a:pt x="19277" y="0"/>
                  </a:lnTo>
                  <a:lnTo>
                    <a:pt x="21600" y="9038"/>
                  </a:lnTo>
                  <a:lnTo>
                    <a:pt x="21261" y="11141"/>
                  </a:lnTo>
                  <a:lnTo>
                    <a:pt x="19005" y="12223"/>
                  </a:lnTo>
                  <a:lnTo>
                    <a:pt x="16591" y="12919"/>
                  </a:lnTo>
                  <a:lnTo>
                    <a:pt x="14322" y="14189"/>
                  </a:lnTo>
                  <a:lnTo>
                    <a:pt x="10338" y="15866"/>
                  </a:lnTo>
                  <a:lnTo>
                    <a:pt x="8663" y="16672"/>
                  </a:lnTo>
                  <a:lnTo>
                    <a:pt x="7466" y="18239"/>
                  </a:lnTo>
                  <a:lnTo>
                    <a:pt x="5487" y="19451"/>
                  </a:lnTo>
                  <a:lnTo>
                    <a:pt x="3924" y="21600"/>
                  </a:lnTo>
                  <a:lnTo>
                    <a:pt x="2153" y="21085"/>
                  </a:lnTo>
                  <a:lnTo>
                    <a:pt x="2749" y="18486"/>
                  </a:lnTo>
                  <a:lnTo>
                    <a:pt x="1476" y="12223"/>
                  </a:lnTo>
                  <a:lnTo>
                    <a:pt x="0" y="5198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6" name="Shape">
              <a:extLst>
                <a:ext uri="{FF2B5EF4-FFF2-40B4-BE49-F238E27FC236}">
                  <a16:creationId xmlns:a16="http://schemas.microsoft.com/office/drawing/2014/main" id="{9F871A0D-9A28-4829-BB86-32E89A39771B}"/>
                </a:ext>
              </a:extLst>
            </p:cNvPr>
            <p:cNvSpPr/>
            <p:nvPr/>
          </p:nvSpPr>
          <p:spPr>
            <a:xfrm>
              <a:off x="16249805" y="3042240"/>
              <a:ext cx="297801" cy="3212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913" y="0"/>
                  </a:moveTo>
                  <a:lnTo>
                    <a:pt x="13647" y="6575"/>
                  </a:lnTo>
                  <a:lnTo>
                    <a:pt x="18766" y="7131"/>
                  </a:lnTo>
                  <a:lnTo>
                    <a:pt x="21600" y="12698"/>
                  </a:lnTo>
                  <a:lnTo>
                    <a:pt x="18668" y="15207"/>
                  </a:lnTo>
                  <a:lnTo>
                    <a:pt x="14071" y="14894"/>
                  </a:lnTo>
                  <a:lnTo>
                    <a:pt x="11758" y="18606"/>
                  </a:lnTo>
                  <a:lnTo>
                    <a:pt x="6726" y="21600"/>
                  </a:lnTo>
                  <a:lnTo>
                    <a:pt x="4062" y="17848"/>
                  </a:lnTo>
                  <a:lnTo>
                    <a:pt x="0" y="2217"/>
                  </a:lnTo>
                  <a:lnTo>
                    <a:pt x="9913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7" name="Shape">
              <a:extLst>
                <a:ext uri="{FF2B5EF4-FFF2-40B4-BE49-F238E27FC236}">
                  <a16:creationId xmlns:a16="http://schemas.microsoft.com/office/drawing/2014/main" id="{2FDD9CDA-C503-4339-91E3-83430D4716B7}"/>
                </a:ext>
              </a:extLst>
            </p:cNvPr>
            <p:cNvSpPr/>
            <p:nvPr/>
          </p:nvSpPr>
          <p:spPr>
            <a:xfrm>
              <a:off x="15391615" y="3601424"/>
              <a:ext cx="383238" cy="8287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681" y="0"/>
                  </a:moveTo>
                  <a:lnTo>
                    <a:pt x="17028" y="765"/>
                  </a:lnTo>
                  <a:lnTo>
                    <a:pt x="19245" y="2293"/>
                  </a:lnTo>
                  <a:lnTo>
                    <a:pt x="16550" y="3454"/>
                  </a:lnTo>
                  <a:lnTo>
                    <a:pt x="14447" y="5394"/>
                  </a:lnTo>
                  <a:lnTo>
                    <a:pt x="14359" y="7086"/>
                  </a:lnTo>
                  <a:lnTo>
                    <a:pt x="19420" y="6321"/>
                  </a:lnTo>
                  <a:lnTo>
                    <a:pt x="20811" y="8403"/>
                  </a:lnTo>
                  <a:lnTo>
                    <a:pt x="21600" y="11964"/>
                  </a:lnTo>
                  <a:lnTo>
                    <a:pt x="18992" y="13652"/>
                  </a:lnTo>
                  <a:lnTo>
                    <a:pt x="17546" y="16078"/>
                  </a:lnTo>
                  <a:lnTo>
                    <a:pt x="15542" y="17644"/>
                  </a:lnTo>
                  <a:lnTo>
                    <a:pt x="15038" y="19421"/>
                  </a:lnTo>
                  <a:lnTo>
                    <a:pt x="13822" y="21392"/>
                  </a:lnTo>
                  <a:lnTo>
                    <a:pt x="11028" y="21600"/>
                  </a:lnTo>
                  <a:lnTo>
                    <a:pt x="11718" y="19345"/>
                  </a:lnTo>
                  <a:lnTo>
                    <a:pt x="7271" y="19345"/>
                  </a:lnTo>
                  <a:lnTo>
                    <a:pt x="3984" y="18550"/>
                  </a:lnTo>
                  <a:lnTo>
                    <a:pt x="0" y="16898"/>
                  </a:lnTo>
                  <a:lnTo>
                    <a:pt x="2943" y="14006"/>
                  </a:lnTo>
                  <a:lnTo>
                    <a:pt x="6763" y="14122"/>
                  </a:lnTo>
                  <a:lnTo>
                    <a:pt x="8603" y="12309"/>
                  </a:lnTo>
                  <a:lnTo>
                    <a:pt x="7310" y="10941"/>
                  </a:lnTo>
                  <a:lnTo>
                    <a:pt x="3049" y="9614"/>
                  </a:lnTo>
                  <a:lnTo>
                    <a:pt x="1230" y="8251"/>
                  </a:lnTo>
                  <a:lnTo>
                    <a:pt x="704" y="2906"/>
                  </a:lnTo>
                  <a:cubicBezTo>
                    <a:pt x="1725" y="2454"/>
                    <a:pt x="2674" y="1969"/>
                    <a:pt x="3543" y="1453"/>
                  </a:cubicBezTo>
                  <a:cubicBezTo>
                    <a:pt x="4323" y="991"/>
                    <a:pt x="5037" y="505"/>
                    <a:pt x="5681" y="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8" name="Shape">
              <a:extLst>
                <a:ext uri="{FF2B5EF4-FFF2-40B4-BE49-F238E27FC236}">
                  <a16:creationId xmlns:a16="http://schemas.microsoft.com/office/drawing/2014/main" id="{17C274D8-96CD-4013-8D1A-772F213B4A88}"/>
                </a:ext>
              </a:extLst>
            </p:cNvPr>
            <p:cNvSpPr/>
            <p:nvPr/>
          </p:nvSpPr>
          <p:spPr>
            <a:xfrm>
              <a:off x="13314213" y="4459435"/>
              <a:ext cx="1411549" cy="10745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664" y="426"/>
                  </a:moveTo>
                  <a:lnTo>
                    <a:pt x="13100" y="6146"/>
                  </a:lnTo>
                  <a:lnTo>
                    <a:pt x="14165" y="5565"/>
                  </a:lnTo>
                  <a:lnTo>
                    <a:pt x="14798" y="3424"/>
                  </a:lnTo>
                  <a:lnTo>
                    <a:pt x="15911" y="1618"/>
                  </a:lnTo>
                  <a:lnTo>
                    <a:pt x="16883" y="931"/>
                  </a:lnTo>
                  <a:lnTo>
                    <a:pt x="19369" y="462"/>
                  </a:lnTo>
                  <a:lnTo>
                    <a:pt x="20844" y="556"/>
                  </a:lnTo>
                  <a:lnTo>
                    <a:pt x="21600" y="2044"/>
                  </a:lnTo>
                  <a:lnTo>
                    <a:pt x="20598" y="3572"/>
                  </a:lnTo>
                  <a:lnTo>
                    <a:pt x="19917" y="4627"/>
                  </a:lnTo>
                  <a:lnTo>
                    <a:pt x="19099" y="4783"/>
                  </a:lnTo>
                  <a:lnTo>
                    <a:pt x="18414" y="4877"/>
                  </a:lnTo>
                  <a:lnTo>
                    <a:pt x="18275" y="5870"/>
                  </a:lnTo>
                  <a:lnTo>
                    <a:pt x="17968" y="7323"/>
                  </a:lnTo>
                  <a:lnTo>
                    <a:pt x="16901" y="8167"/>
                  </a:lnTo>
                  <a:lnTo>
                    <a:pt x="16475" y="9413"/>
                  </a:lnTo>
                  <a:lnTo>
                    <a:pt x="15443" y="10871"/>
                  </a:lnTo>
                  <a:lnTo>
                    <a:pt x="14191" y="11156"/>
                  </a:lnTo>
                  <a:lnTo>
                    <a:pt x="13028" y="10812"/>
                  </a:lnTo>
                  <a:lnTo>
                    <a:pt x="12984" y="11719"/>
                  </a:lnTo>
                  <a:lnTo>
                    <a:pt x="13025" y="13332"/>
                  </a:lnTo>
                  <a:lnTo>
                    <a:pt x="12032" y="13981"/>
                  </a:lnTo>
                  <a:lnTo>
                    <a:pt x="10888" y="14536"/>
                  </a:lnTo>
                  <a:lnTo>
                    <a:pt x="10170" y="15747"/>
                  </a:lnTo>
                  <a:lnTo>
                    <a:pt x="10200" y="17380"/>
                  </a:lnTo>
                  <a:lnTo>
                    <a:pt x="9444" y="18451"/>
                  </a:lnTo>
                  <a:lnTo>
                    <a:pt x="8513" y="18639"/>
                  </a:lnTo>
                  <a:lnTo>
                    <a:pt x="7727" y="18729"/>
                  </a:lnTo>
                  <a:lnTo>
                    <a:pt x="7276" y="19616"/>
                  </a:lnTo>
                  <a:lnTo>
                    <a:pt x="6354" y="19713"/>
                  </a:lnTo>
                  <a:lnTo>
                    <a:pt x="5571" y="19061"/>
                  </a:lnTo>
                  <a:lnTo>
                    <a:pt x="5058" y="20432"/>
                  </a:lnTo>
                  <a:lnTo>
                    <a:pt x="4310" y="21600"/>
                  </a:lnTo>
                  <a:lnTo>
                    <a:pt x="3388" y="21225"/>
                  </a:lnTo>
                  <a:lnTo>
                    <a:pt x="1895" y="19306"/>
                  </a:lnTo>
                  <a:lnTo>
                    <a:pt x="760" y="17732"/>
                  </a:lnTo>
                  <a:lnTo>
                    <a:pt x="0" y="17263"/>
                  </a:lnTo>
                  <a:lnTo>
                    <a:pt x="313" y="12996"/>
                  </a:lnTo>
                  <a:lnTo>
                    <a:pt x="1442" y="10793"/>
                  </a:lnTo>
                  <a:lnTo>
                    <a:pt x="999" y="9656"/>
                  </a:lnTo>
                  <a:lnTo>
                    <a:pt x="1611" y="8272"/>
                  </a:lnTo>
                  <a:lnTo>
                    <a:pt x="2617" y="7995"/>
                  </a:lnTo>
                  <a:lnTo>
                    <a:pt x="3435" y="8522"/>
                  </a:lnTo>
                  <a:lnTo>
                    <a:pt x="2854" y="6389"/>
                  </a:lnTo>
                  <a:lnTo>
                    <a:pt x="3660" y="5017"/>
                  </a:lnTo>
                  <a:lnTo>
                    <a:pt x="4740" y="4838"/>
                  </a:lnTo>
                  <a:lnTo>
                    <a:pt x="6257" y="1489"/>
                  </a:lnTo>
                  <a:lnTo>
                    <a:pt x="6400" y="239"/>
                  </a:lnTo>
                  <a:lnTo>
                    <a:pt x="7530" y="0"/>
                  </a:lnTo>
                  <a:lnTo>
                    <a:pt x="7628" y="1566"/>
                  </a:lnTo>
                  <a:lnTo>
                    <a:pt x="12664" y="426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99" name="Shape">
              <a:extLst>
                <a:ext uri="{FF2B5EF4-FFF2-40B4-BE49-F238E27FC236}">
                  <a16:creationId xmlns:a16="http://schemas.microsoft.com/office/drawing/2014/main" id="{0D9F062C-714B-487F-86F2-AE3B1AE68D66}"/>
                </a:ext>
              </a:extLst>
            </p:cNvPr>
            <p:cNvSpPr/>
            <p:nvPr/>
          </p:nvSpPr>
          <p:spPr>
            <a:xfrm>
              <a:off x="14128529" y="4282499"/>
              <a:ext cx="1643147" cy="836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122"/>
                  </a:moveTo>
                  <a:lnTo>
                    <a:pt x="397" y="13012"/>
                  </a:lnTo>
                  <a:lnTo>
                    <a:pt x="1654" y="12111"/>
                  </a:lnTo>
                  <a:lnTo>
                    <a:pt x="2349" y="8825"/>
                  </a:lnTo>
                  <a:lnTo>
                    <a:pt x="3366" y="6798"/>
                  </a:lnTo>
                  <a:lnTo>
                    <a:pt x="5363" y="5689"/>
                  </a:lnTo>
                  <a:lnTo>
                    <a:pt x="7269" y="5689"/>
                  </a:lnTo>
                  <a:lnTo>
                    <a:pt x="7862" y="7917"/>
                  </a:lnTo>
                  <a:lnTo>
                    <a:pt x="8692" y="8394"/>
                  </a:lnTo>
                  <a:lnTo>
                    <a:pt x="8994" y="10144"/>
                  </a:lnTo>
                  <a:lnTo>
                    <a:pt x="10460" y="10470"/>
                  </a:lnTo>
                  <a:lnTo>
                    <a:pt x="11216" y="11714"/>
                  </a:lnTo>
                  <a:lnTo>
                    <a:pt x="10974" y="13595"/>
                  </a:lnTo>
                  <a:lnTo>
                    <a:pt x="10192" y="15793"/>
                  </a:lnTo>
                  <a:lnTo>
                    <a:pt x="10713" y="17173"/>
                  </a:lnTo>
                  <a:lnTo>
                    <a:pt x="11671" y="17654"/>
                  </a:lnTo>
                  <a:lnTo>
                    <a:pt x="12363" y="17654"/>
                  </a:lnTo>
                  <a:lnTo>
                    <a:pt x="13403" y="18457"/>
                  </a:lnTo>
                  <a:lnTo>
                    <a:pt x="14280" y="19500"/>
                  </a:lnTo>
                  <a:lnTo>
                    <a:pt x="15292" y="20569"/>
                  </a:lnTo>
                  <a:lnTo>
                    <a:pt x="15394" y="19380"/>
                  </a:lnTo>
                  <a:lnTo>
                    <a:pt x="15749" y="18236"/>
                  </a:lnTo>
                  <a:lnTo>
                    <a:pt x="14913" y="17598"/>
                  </a:lnTo>
                  <a:lnTo>
                    <a:pt x="13815" y="15647"/>
                  </a:lnTo>
                  <a:lnTo>
                    <a:pt x="15772" y="16971"/>
                  </a:lnTo>
                  <a:lnTo>
                    <a:pt x="14982" y="14368"/>
                  </a:lnTo>
                  <a:lnTo>
                    <a:pt x="14394" y="12898"/>
                  </a:lnTo>
                  <a:lnTo>
                    <a:pt x="14456" y="10736"/>
                  </a:lnTo>
                  <a:lnTo>
                    <a:pt x="14944" y="9467"/>
                  </a:lnTo>
                  <a:lnTo>
                    <a:pt x="14211" y="8389"/>
                  </a:lnTo>
                  <a:lnTo>
                    <a:pt x="13495" y="6543"/>
                  </a:lnTo>
                  <a:lnTo>
                    <a:pt x="14568" y="6102"/>
                  </a:lnTo>
                  <a:lnTo>
                    <a:pt x="15358" y="4275"/>
                  </a:lnTo>
                  <a:lnTo>
                    <a:pt x="15662" y="3140"/>
                  </a:lnTo>
                  <a:lnTo>
                    <a:pt x="16229" y="2567"/>
                  </a:lnTo>
                  <a:lnTo>
                    <a:pt x="16656" y="4171"/>
                  </a:lnTo>
                  <a:lnTo>
                    <a:pt x="15981" y="5267"/>
                  </a:lnTo>
                  <a:lnTo>
                    <a:pt x="15430" y="6857"/>
                  </a:lnTo>
                  <a:lnTo>
                    <a:pt x="15654" y="8377"/>
                  </a:lnTo>
                  <a:lnTo>
                    <a:pt x="16020" y="9821"/>
                  </a:lnTo>
                  <a:lnTo>
                    <a:pt x="15940" y="11422"/>
                  </a:lnTo>
                  <a:lnTo>
                    <a:pt x="15639" y="12766"/>
                  </a:lnTo>
                  <a:lnTo>
                    <a:pt x="16247" y="13719"/>
                  </a:lnTo>
                  <a:lnTo>
                    <a:pt x="16022" y="15224"/>
                  </a:lnTo>
                  <a:lnTo>
                    <a:pt x="16528" y="17376"/>
                  </a:lnTo>
                  <a:lnTo>
                    <a:pt x="17384" y="17858"/>
                  </a:lnTo>
                  <a:lnTo>
                    <a:pt x="18294" y="17040"/>
                  </a:lnTo>
                  <a:lnTo>
                    <a:pt x="18294" y="18766"/>
                  </a:lnTo>
                  <a:lnTo>
                    <a:pt x="18393" y="21600"/>
                  </a:lnTo>
                  <a:lnTo>
                    <a:pt x="19229" y="21399"/>
                  </a:lnTo>
                  <a:lnTo>
                    <a:pt x="20133" y="19383"/>
                  </a:lnTo>
                  <a:lnTo>
                    <a:pt x="20683" y="17632"/>
                  </a:lnTo>
                  <a:cubicBezTo>
                    <a:pt x="20784" y="17837"/>
                    <a:pt x="20886" y="18042"/>
                    <a:pt x="20988" y="18246"/>
                  </a:cubicBezTo>
                  <a:cubicBezTo>
                    <a:pt x="21090" y="18451"/>
                    <a:pt x="21192" y="18656"/>
                    <a:pt x="21293" y="18861"/>
                  </a:cubicBezTo>
                  <a:lnTo>
                    <a:pt x="21600" y="16112"/>
                  </a:lnTo>
                  <a:lnTo>
                    <a:pt x="21559" y="13478"/>
                  </a:lnTo>
                  <a:lnTo>
                    <a:pt x="18518" y="14266"/>
                  </a:lnTo>
                  <a:lnTo>
                    <a:pt x="16303" y="0"/>
                  </a:lnTo>
                  <a:lnTo>
                    <a:pt x="0" y="5122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0" name="Shape">
              <a:extLst>
                <a:ext uri="{FF2B5EF4-FFF2-40B4-BE49-F238E27FC236}">
                  <a16:creationId xmlns:a16="http://schemas.microsoft.com/office/drawing/2014/main" id="{E0DD5240-BE8D-4B84-9FCB-6C6086F57AA2}"/>
                </a:ext>
              </a:extLst>
            </p:cNvPr>
            <p:cNvSpPr/>
            <p:nvPr/>
          </p:nvSpPr>
          <p:spPr>
            <a:xfrm>
              <a:off x="15357664" y="4244677"/>
              <a:ext cx="429506" cy="609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32" y="2007"/>
                  </a:moveTo>
                  <a:lnTo>
                    <a:pt x="4554" y="3633"/>
                  </a:lnTo>
                  <a:lnTo>
                    <a:pt x="7159" y="5725"/>
                  </a:lnTo>
                  <a:lnTo>
                    <a:pt x="10057" y="7241"/>
                  </a:lnTo>
                  <a:lnTo>
                    <a:pt x="12130" y="9680"/>
                  </a:lnTo>
                  <a:lnTo>
                    <a:pt x="13391" y="13028"/>
                  </a:lnTo>
                  <a:lnTo>
                    <a:pt x="17525" y="14186"/>
                  </a:lnTo>
                  <a:lnTo>
                    <a:pt x="19793" y="15364"/>
                  </a:lnTo>
                  <a:lnTo>
                    <a:pt x="18179" y="16570"/>
                  </a:lnTo>
                  <a:lnTo>
                    <a:pt x="16860" y="18479"/>
                  </a:lnTo>
                  <a:lnTo>
                    <a:pt x="21600" y="18155"/>
                  </a:lnTo>
                  <a:lnTo>
                    <a:pt x="20662" y="20608"/>
                  </a:lnTo>
                  <a:lnTo>
                    <a:pt x="8669" y="21600"/>
                  </a:lnTo>
                  <a:lnTo>
                    <a:pt x="0" y="1496"/>
                  </a:lnTo>
                  <a:lnTo>
                    <a:pt x="2723" y="0"/>
                  </a:lnTo>
                  <a:lnTo>
                    <a:pt x="5932" y="2007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1" name="Shape">
              <a:extLst>
                <a:ext uri="{FF2B5EF4-FFF2-40B4-BE49-F238E27FC236}">
                  <a16:creationId xmlns:a16="http://schemas.microsoft.com/office/drawing/2014/main" id="{B5A9C708-1A7E-442B-9AB0-956371D2FF4E}"/>
                </a:ext>
              </a:extLst>
            </p:cNvPr>
            <p:cNvSpPr/>
            <p:nvPr/>
          </p:nvSpPr>
          <p:spPr>
            <a:xfrm>
              <a:off x="12992406" y="4558805"/>
              <a:ext cx="2569414" cy="13731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483" y="15849"/>
                  </a:moveTo>
                  <a:lnTo>
                    <a:pt x="0" y="21600"/>
                  </a:lnTo>
                  <a:lnTo>
                    <a:pt x="525" y="19786"/>
                  </a:lnTo>
                  <a:lnTo>
                    <a:pt x="1322" y="19520"/>
                  </a:lnTo>
                  <a:lnTo>
                    <a:pt x="1629" y="18799"/>
                  </a:lnTo>
                  <a:lnTo>
                    <a:pt x="1369" y="17612"/>
                  </a:lnTo>
                  <a:lnTo>
                    <a:pt x="2008" y="17637"/>
                  </a:lnTo>
                  <a:lnTo>
                    <a:pt x="2163" y="16411"/>
                  </a:lnTo>
                  <a:lnTo>
                    <a:pt x="3006" y="15750"/>
                  </a:lnTo>
                  <a:lnTo>
                    <a:pt x="3956" y="13021"/>
                  </a:lnTo>
                  <a:lnTo>
                    <a:pt x="4608" y="14603"/>
                  </a:lnTo>
                  <a:lnTo>
                    <a:pt x="5132" y="15044"/>
                  </a:lnTo>
                  <a:lnTo>
                    <a:pt x="5809" y="13072"/>
                  </a:lnTo>
                  <a:lnTo>
                    <a:pt x="6469" y="13534"/>
                  </a:lnTo>
                  <a:lnTo>
                    <a:pt x="6949" y="12757"/>
                  </a:lnTo>
                  <a:lnTo>
                    <a:pt x="7918" y="12517"/>
                  </a:lnTo>
                  <a:lnTo>
                    <a:pt x="8191" y="11934"/>
                  </a:lnTo>
                  <a:lnTo>
                    <a:pt x="8228" y="10578"/>
                  </a:lnTo>
                  <a:lnTo>
                    <a:pt x="8744" y="9294"/>
                  </a:lnTo>
                  <a:lnTo>
                    <a:pt x="9836" y="8632"/>
                  </a:lnTo>
                  <a:lnTo>
                    <a:pt x="9795" y="6682"/>
                  </a:lnTo>
                  <a:lnTo>
                    <a:pt x="10576" y="6767"/>
                  </a:lnTo>
                  <a:lnTo>
                    <a:pt x="11414" y="6479"/>
                  </a:lnTo>
                  <a:lnTo>
                    <a:pt x="11946" y="4516"/>
                  </a:lnTo>
                  <a:lnTo>
                    <a:pt x="12517" y="3735"/>
                  </a:lnTo>
                  <a:lnTo>
                    <a:pt x="12803" y="1886"/>
                  </a:lnTo>
                  <a:lnTo>
                    <a:pt x="13697" y="1629"/>
                  </a:lnTo>
                  <a:lnTo>
                    <a:pt x="14506" y="0"/>
                  </a:lnTo>
                  <a:lnTo>
                    <a:pt x="15262" y="644"/>
                  </a:lnTo>
                  <a:lnTo>
                    <a:pt x="15594" y="1675"/>
                  </a:lnTo>
                  <a:lnTo>
                    <a:pt x="16573" y="1675"/>
                  </a:lnTo>
                  <a:lnTo>
                    <a:pt x="16927" y="2794"/>
                  </a:lnTo>
                  <a:lnTo>
                    <a:pt x="16792" y="4036"/>
                  </a:lnTo>
                  <a:lnTo>
                    <a:pt x="16301" y="5195"/>
                  </a:lnTo>
                  <a:lnTo>
                    <a:pt x="16674" y="6023"/>
                  </a:lnTo>
                  <a:lnTo>
                    <a:pt x="17586" y="6023"/>
                  </a:lnTo>
                  <a:lnTo>
                    <a:pt x="19491" y="7946"/>
                  </a:lnTo>
                  <a:lnTo>
                    <a:pt x="19350" y="9530"/>
                  </a:lnTo>
                  <a:lnTo>
                    <a:pt x="19805" y="10108"/>
                  </a:lnTo>
                  <a:lnTo>
                    <a:pt x="19068" y="10154"/>
                  </a:lnTo>
                  <a:lnTo>
                    <a:pt x="18407" y="10035"/>
                  </a:lnTo>
                  <a:lnTo>
                    <a:pt x="18561" y="10836"/>
                  </a:lnTo>
                  <a:lnTo>
                    <a:pt x="19434" y="11276"/>
                  </a:lnTo>
                  <a:lnTo>
                    <a:pt x="19889" y="11472"/>
                  </a:lnTo>
                  <a:cubicBezTo>
                    <a:pt x="19827" y="11815"/>
                    <a:pt x="19833" y="12190"/>
                    <a:pt x="19905" y="12527"/>
                  </a:cubicBezTo>
                  <a:cubicBezTo>
                    <a:pt x="19976" y="12858"/>
                    <a:pt x="20108" y="13132"/>
                    <a:pt x="20277" y="13300"/>
                  </a:cubicBezTo>
                  <a:lnTo>
                    <a:pt x="19970" y="13936"/>
                  </a:lnTo>
                  <a:lnTo>
                    <a:pt x="18718" y="12566"/>
                  </a:lnTo>
                  <a:lnTo>
                    <a:pt x="17873" y="12199"/>
                  </a:lnTo>
                  <a:lnTo>
                    <a:pt x="17038" y="12346"/>
                  </a:lnTo>
                  <a:lnTo>
                    <a:pt x="17323" y="13190"/>
                  </a:lnTo>
                  <a:cubicBezTo>
                    <a:pt x="17577" y="12936"/>
                    <a:pt x="17867" y="12832"/>
                    <a:pt x="18153" y="12893"/>
                  </a:cubicBezTo>
                  <a:cubicBezTo>
                    <a:pt x="18498" y="12967"/>
                    <a:pt x="18816" y="13272"/>
                    <a:pt x="19049" y="13753"/>
                  </a:cubicBezTo>
                  <a:lnTo>
                    <a:pt x="20053" y="14850"/>
                  </a:lnTo>
                  <a:lnTo>
                    <a:pt x="20781" y="14166"/>
                  </a:lnTo>
                  <a:lnTo>
                    <a:pt x="21600" y="14172"/>
                  </a:lnTo>
                  <a:lnTo>
                    <a:pt x="21483" y="15849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2" name="Shape">
              <a:extLst>
                <a:ext uri="{FF2B5EF4-FFF2-40B4-BE49-F238E27FC236}">
                  <a16:creationId xmlns:a16="http://schemas.microsoft.com/office/drawing/2014/main" id="{1FE7E7C5-BB1D-49E4-9D68-20D76175E845}"/>
                </a:ext>
              </a:extLst>
            </p:cNvPr>
            <p:cNvSpPr/>
            <p:nvPr/>
          </p:nvSpPr>
          <p:spPr>
            <a:xfrm>
              <a:off x="5345423" y="6000370"/>
              <a:ext cx="4465045" cy="44286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803" y="8819"/>
                  </a:moveTo>
                  <a:lnTo>
                    <a:pt x="86" y="8216"/>
                  </a:lnTo>
                  <a:lnTo>
                    <a:pt x="0" y="8648"/>
                  </a:lnTo>
                  <a:lnTo>
                    <a:pt x="191" y="8907"/>
                  </a:lnTo>
                  <a:lnTo>
                    <a:pt x="258" y="9222"/>
                  </a:lnTo>
                  <a:lnTo>
                    <a:pt x="594" y="9448"/>
                  </a:lnTo>
                  <a:lnTo>
                    <a:pt x="1060" y="9826"/>
                  </a:lnTo>
                  <a:lnTo>
                    <a:pt x="1232" y="10258"/>
                  </a:lnTo>
                  <a:lnTo>
                    <a:pt x="1561" y="10565"/>
                  </a:lnTo>
                  <a:lnTo>
                    <a:pt x="1695" y="10790"/>
                  </a:lnTo>
                  <a:lnTo>
                    <a:pt x="1995" y="10879"/>
                  </a:lnTo>
                  <a:lnTo>
                    <a:pt x="2161" y="11220"/>
                  </a:lnTo>
                  <a:lnTo>
                    <a:pt x="2446" y="11439"/>
                  </a:lnTo>
                  <a:lnTo>
                    <a:pt x="2534" y="11798"/>
                  </a:lnTo>
                  <a:lnTo>
                    <a:pt x="2707" y="12334"/>
                  </a:lnTo>
                  <a:lnTo>
                    <a:pt x="2707" y="12781"/>
                  </a:lnTo>
                  <a:lnTo>
                    <a:pt x="2908" y="13727"/>
                  </a:lnTo>
                  <a:lnTo>
                    <a:pt x="3330" y="13953"/>
                  </a:lnTo>
                  <a:lnTo>
                    <a:pt x="3691" y="14149"/>
                  </a:lnTo>
                  <a:lnTo>
                    <a:pt x="3968" y="14217"/>
                  </a:lnTo>
                  <a:lnTo>
                    <a:pt x="4511" y="14459"/>
                  </a:lnTo>
                  <a:lnTo>
                    <a:pt x="4667" y="14677"/>
                  </a:lnTo>
                  <a:lnTo>
                    <a:pt x="4871" y="14942"/>
                  </a:lnTo>
                  <a:lnTo>
                    <a:pt x="5186" y="15055"/>
                  </a:lnTo>
                  <a:lnTo>
                    <a:pt x="5447" y="14958"/>
                  </a:lnTo>
                  <a:lnTo>
                    <a:pt x="5507" y="14575"/>
                  </a:lnTo>
                  <a:lnTo>
                    <a:pt x="5545" y="14357"/>
                  </a:lnTo>
                  <a:lnTo>
                    <a:pt x="5642" y="14056"/>
                  </a:lnTo>
                  <a:lnTo>
                    <a:pt x="5819" y="13771"/>
                  </a:lnTo>
                  <a:lnTo>
                    <a:pt x="5996" y="13481"/>
                  </a:lnTo>
                  <a:lnTo>
                    <a:pt x="6153" y="13262"/>
                  </a:lnTo>
                  <a:lnTo>
                    <a:pt x="6392" y="13150"/>
                  </a:lnTo>
                  <a:lnTo>
                    <a:pt x="6645" y="13413"/>
                  </a:lnTo>
                  <a:lnTo>
                    <a:pt x="7039" y="13390"/>
                  </a:lnTo>
                  <a:lnTo>
                    <a:pt x="7321" y="13548"/>
                  </a:lnTo>
                  <a:lnTo>
                    <a:pt x="7939" y="13623"/>
                  </a:lnTo>
                  <a:lnTo>
                    <a:pt x="8475" y="13744"/>
                  </a:lnTo>
                  <a:lnTo>
                    <a:pt x="8872" y="14106"/>
                  </a:lnTo>
                  <a:lnTo>
                    <a:pt x="9083" y="14477"/>
                  </a:lnTo>
                  <a:lnTo>
                    <a:pt x="9285" y="14671"/>
                  </a:lnTo>
                  <a:lnTo>
                    <a:pt x="9240" y="14967"/>
                  </a:lnTo>
                  <a:lnTo>
                    <a:pt x="9649" y="15280"/>
                  </a:lnTo>
                  <a:lnTo>
                    <a:pt x="9773" y="15606"/>
                  </a:lnTo>
                  <a:lnTo>
                    <a:pt x="10032" y="15923"/>
                  </a:lnTo>
                  <a:lnTo>
                    <a:pt x="10092" y="16199"/>
                  </a:lnTo>
                  <a:lnTo>
                    <a:pt x="10235" y="16485"/>
                  </a:lnTo>
                  <a:lnTo>
                    <a:pt x="10551" y="16887"/>
                  </a:lnTo>
                  <a:lnTo>
                    <a:pt x="10611" y="17339"/>
                  </a:lnTo>
                  <a:lnTo>
                    <a:pt x="10827" y="17551"/>
                  </a:lnTo>
                  <a:lnTo>
                    <a:pt x="11110" y="17754"/>
                  </a:lnTo>
                  <a:lnTo>
                    <a:pt x="11236" y="18009"/>
                  </a:lnTo>
                  <a:lnTo>
                    <a:pt x="11348" y="18445"/>
                  </a:lnTo>
                  <a:lnTo>
                    <a:pt x="11497" y="18684"/>
                  </a:lnTo>
                  <a:lnTo>
                    <a:pt x="11520" y="18933"/>
                  </a:lnTo>
                  <a:lnTo>
                    <a:pt x="11564" y="19238"/>
                  </a:lnTo>
                  <a:lnTo>
                    <a:pt x="11752" y="19601"/>
                  </a:lnTo>
                  <a:lnTo>
                    <a:pt x="11967" y="19751"/>
                  </a:lnTo>
                  <a:lnTo>
                    <a:pt x="12034" y="20050"/>
                  </a:lnTo>
                  <a:lnTo>
                    <a:pt x="12183" y="20365"/>
                  </a:lnTo>
                  <a:lnTo>
                    <a:pt x="12452" y="20560"/>
                  </a:lnTo>
                  <a:lnTo>
                    <a:pt x="12661" y="20778"/>
                  </a:lnTo>
                  <a:lnTo>
                    <a:pt x="12824" y="21012"/>
                  </a:lnTo>
                  <a:lnTo>
                    <a:pt x="13183" y="21058"/>
                  </a:lnTo>
                  <a:lnTo>
                    <a:pt x="13428" y="21148"/>
                  </a:lnTo>
                  <a:lnTo>
                    <a:pt x="13735" y="21148"/>
                  </a:lnTo>
                  <a:lnTo>
                    <a:pt x="14048" y="21021"/>
                  </a:lnTo>
                  <a:lnTo>
                    <a:pt x="14454" y="20998"/>
                  </a:lnTo>
                  <a:lnTo>
                    <a:pt x="14626" y="21232"/>
                  </a:lnTo>
                  <a:lnTo>
                    <a:pt x="14784" y="21496"/>
                  </a:lnTo>
                  <a:lnTo>
                    <a:pt x="15178" y="21600"/>
                  </a:lnTo>
                  <a:lnTo>
                    <a:pt x="15290" y="21281"/>
                  </a:lnTo>
                  <a:lnTo>
                    <a:pt x="15117" y="20934"/>
                  </a:lnTo>
                  <a:lnTo>
                    <a:pt x="15237" y="20648"/>
                  </a:lnTo>
                  <a:lnTo>
                    <a:pt x="15259" y="20376"/>
                  </a:lnTo>
                  <a:lnTo>
                    <a:pt x="15215" y="19967"/>
                  </a:lnTo>
                  <a:lnTo>
                    <a:pt x="15230" y="19536"/>
                  </a:lnTo>
                  <a:lnTo>
                    <a:pt x="15230" y="18782"/>
                  </a:lnTo>
                  <a:lnTo>
                    <a:pt x="15523" y="18329"/>
                  </a:lnTo>
                  <a:lnTo>
                    <a:pt x="15329" y="18187"/>
                  </a:lnTo>
                  <a:lnTo>
                    <a:pt x="14962" y="18918"/>
                  </a:lnTo>
                  <a:lnTo>
                    <a:pt x="14992" y="19567"/>
                  </a:lnTo>
                  <a:lnTo>
                    <a:pt x="15041" y="20299"/>
                  </a:lnTo>
                  <a:lnTo>
                    <a:pt x="14809" y="19920"/>
                  </a:lnTo>
                  <a:lnTo>
                    <a:pt x="14652" y="19194"/>
                  </a:lnTo>
                  <a:lnTo>
                    <a:pt x="14501" y="18831"/>
                  </a:lnTo>
                  <a:lnTo>
                    <a:pt x="14344" y="18490"/>
                  </a:lnTo>
                  <a:lnTo>
                    <a:pt x="14658" y="18240"/>
                  </a:lnTo>
                  <a:lnTo>
                    <a:pt x="14822" y="18557"/>
                  </a:lnTo>
                  <a:lnTo>
                    <a:pt x="15203" y="17963"/>
                  </a:lnTo>
                  <a:lnTo>
                    <a:pt x="15008" y="17676"/>
                  </a:lnTo>
                  <a:lnTo>
                    <a:pt x="14963" y="17388"/>
                  </a:lnTo>
                  <a:lnTo>
                    <a:pt x="15271" y="17546"/>
                  </a:lnTo>
                  <a:lnTo>
                    <a:pt x="15478" y="17743"/>
                  </a:lnTo>
                  <a:lnTo>
                    <a:pt x="15703" y="17201"/>
                  </a:lnTo>
                  <a:lnTo>
                    <a:pt x="15748" y="16861"/>
                  </a:lnTo>
                  <a:lnTo>
                    <a:pt x="16040" y="16521"/>
                  </a:lnTo>
                  <a:lnTo>
                    <a:pt x="16324" y="16386"/>
                  </a:lnTo>
                  <a:lnTo>
                    <a:pt x="16570" y="16498"/>
                  </a:lnTo>
                  <a:lnTo>
                    <a:pt x="16345" y="16754"/>
                  </a:lnTo>
                  <a:lnTo>
                    <a:pt x="16063" y="17015"/>
                  </a:lnTo>
                  <a:lnTo>
                    <a:pt x="15868" y="17432"/>
                  </a:lnTo>
                  <a:lnTo>
                    <a:pt x="16204" y="17333"/>
                  </a:lnTo>
                  <a:lnTo>
                    <a:pt x="16557" y="16947"/>
                  </a:lnTo>
                  <a:lnTo>
                    <a:pt x="16714" y="16721"/>
                  </a:lnTo>
                  <a:lnTo>
                    <a:pt x="16893" y="16455"/>
                  </a:lnTo>
                  <a:lnTo>
                    <a:pt x="16848" y="16115"/>
                  </a:lnTo>
                  <a:lnTo>
                    <a:pt x="17088" y="16025"/>
                  </a:lnTo>
                  <a:lnTo>
                    <a:pt x="17103" y="16371"/>
                  </a:lnTo>
                  <a:lnTo>
                    <a:pt x="17598" y="16212"/>
                  </a:lnTo>
                  <a:lnTo>
                    <a:pt x="17726" y="15931"/>
                  </a:lnTo>
                  <a:lnTo>
                    <a:pt x="17898" y="15772"/>
                  </a:lnTo>
                  <a:lnTo>
                    <a:pt x="18244" y="15749"/>
                  </a:lnTo>
                  <a:lnTo>
                    <a:pt x="18618" y="15699"/>
                  </a:lnTo>
                  <a:lnTo>
                    <a:pt x="18774" y="15542"/>
                  </a:lnTo>
                  <a:lnTo>
                    <a:pt x="18931" y="15293"/>
                  </a:lnTo>
                  <a:lnTo>
                    <a:pt x="19319" y="15339"/>
                  </a:lnTo>
                  <a:lnTo>
                    <a:pt x="19654" y="15202"/>
                  </a:lnTo>
                  <a:lnTo>
                    <a:pt x="19698" y="14911"/>
                  </a:lnTo>
                  <a:lnTo>
                    <a:pt x="19468" y="14911"/>
                  </a:lnTo>
                  <a:lnTo>
                    <a:pt x="19207" y="14844"/>
                  </a:lnTo>
                  <a:lnTo>
                    <a:pt x="19230" y="14419"/>
                  </a:lnTo>
                  <a:lnTo>
                    <a:pt x="19050" y="14148"/>
                  </a:lnTo>
                  <a:lnTo>
                    <a:pt x="19260" y="14035"/>
                  </a:lnTo>
                  <a:lnTo>
                    <a:pt x="19506" y="13906"/>
                  </a:lnTo>
                  <a:lnTo>
                    <a:pt x="19691" y="14149"/>
                  </a:lnTo>
                  <a:lnTo>
                    <a:pt x="19588" y="14562"/>
                  </a:lnTo>
                  <a:lnTo>
                    <a:pt x="19919" y="14729"/>
                  </a:lnTo>
                  <a:lnTo>
                    <a:pt x="20274" y="14503"/>
                  </a:lnTo>
                  <a:lnTo>
                    <a:pt x="20634" y="14368"/>
                  </a:lnTo>
                  <a:lnTo>
                    <a:pt x="21013" y="14436"/>
                  </a:lnTo>
                  <a:lnTo>
                    <a:pt x="21350" y="14208"/>
                  </a:lnTo>
                  <a:lnTo>
                    <a:pt x="21186" y="13937"/>
                  </a:lnTo>
                  <a:lnTo>
                    <a:pt x="21435" y="13454"/>
                  </a:lnTo>
                  <a:lnTo>
                    <a:pt x="21592" y="12979"/>
                  </a:lnTo>
                  <a:lnTo>
                    <a:pt x="21510" y="12520"/>
                  </a:lnTo>
                  <a:lnTo>
                    <a:pt x="21532" y="12066"/>
                  </a:lnTo>
                  <a:lnTo>
                    <a:pt x="21600" y="11817"/>
                  </a:lnTo>
                  <a:lnTo>
                    <a:pt x="21600" y="11385"/>
                  </a:lnTo>
                  <a:lnTo>
                    <a:pt x="21315" y="11182"/>
                  </a:lnTo>
                  <a:lnTo>
                    <a:pt x="21293" y="10796"/>
                  </a:lnTo>
                  <a:lnTo>
                    <a:pt x="21180" y="10390"/>
                  </a:lnTo>
                  <a:lnTo>
                    <a:pt x="21024" y="10049"/>
                  </a:lnTo>
                  <a:lnTo>
                    <a:pt x="20956" y="9603"/>
                  </a:lnTo>
                  <a:lnTo>
                    <a:pt x="20642" y="9287"/>
                  </a:lnTo>
                  <a:lnTo>
                    <a:pt x="20620" y="8856"/>
                  </a:lnTo>
                  <a:lnTo>
                    <a:pt x="20655" y="6529"/>
                  </a:lnTo>
                  <a:lnTo>
                    <a:pt x="20448" y="6506"/>
                  </a:lnTo>
                  <a:lnTo>
                    <a:pt x="20076" y="6304"/>
                  </a:lnTo>
                  <a:lnTo>
                    <a:pt x="19940" y="6519"/>
                  </a:lnTo>
                  <a:lnTo>
                    <a:pt x="19408" y="5954"/>
                  </a:lnTo>
                  <a:lnTo>
                    <a:pt x="18341" y="5871"/>
                  </a:lnTo>
                  <a:lnTo>
                    <a:pt x="17611" y="5855"/>
                  </a:lnTo>
                  <a:lnTo>
                    <a:pt x="17147" y="6135"/>
                  </a:lnTo>
                  <a:lnTo>
                    <a:pt x="17102" y="5817"/>
                  </a:lnTo>
                  <a:lnTo>
                    <a:pt x="16428" y="5640"/>
                  </a:lnTo>
                  <a:lnTo>
                    <a:pt x="16104" y="5462"/>
                  </a:lnTo>
                  <a:lnTo>
                    <a:pt x="15964" y="5951"/>
                  </a:lnTo>
                  <a:lnTo>
                    <a:pt x="15831" y="5693"/>
                  </a:lnTo>
                  <a:lnTo>
                    <a:pt x="15553" y="5913"/>
                  </a:lnTo>
                  <a:lnTo>
                    <a:pt x="15286" y="5832"/>
                  </a:lnTo>
                  <a:lnTo>
                    <a:pt x="14934" y="5931"/>
                  </a:lnTo>
                  <a:lnTo>
                    <a:pt x="14644" y="5871"/>
                  </a:lnTo>
                  <a:lnTo>
                    <a:pt x="14257" y="5175"/>
                  </a:lnTo>
                  <a:lnTo>
                    <a:pt x="13891" y="5290"/>
                  </a:lnTo>
                  <a:lnTo>
                    <a:pt x="13738" y="5460"/>
                  </a:lnTo>
                  <a:lnTo>
                    <a:pt x="13536" y="5279"/>
                  </a:lnTo>
                  <a:lnTo>
                    <a:pt x="12873" y="5175"/>
                  </a:lnTo>
                  <a:lnTo>
                    <a:pt x="12299" y="4495"/>
                  </a:lnTo>
                  <a:lnTo>
                    <a:pt x="11220" y="4316"/>
                  </a:lnTo>
                  <a:lnTo>
                    <a:pt x="11207" y="386"/>
                  </a:lnTo>
                  <a:lnTo>
                    <a:pt x="6520" y="0"/>
                  </a:lnTo>
                  <a:lnTo>
                    <a:pt x="5803" y="8819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3" name="Shape">
              <a:extLst>
                <a:ext uri="{FF2B5EF4-FFF2-40B4-BE49-F238E27FC236}">
                  <a16:creationId xmlns:a16="http://schemas.microsoft.com/office/drawing/2014/main" id="{063D4760-A7FC-4B82-8852-042F2C340F72}"/>
                </a:ext>
              </a:extLst>
            </p:cNvPr>
            <p:cNvSpPr/>
            <p:nvPr/>
          </p:nvSpPr>
          <p:spPr>
            <a:xfrm>
              <a:off x="9432442" y="6080947"/>
              <a:ext cx="1655593" cy="14677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349" y="2424"/>
                  </a:moveTo>
                  <a:lnTo>
                    <a:pt x="20018" y="2605"/>
                  </a:lnTo>
                  <a:lnTo>
                    <a:pt x="19349" y="1799"/>
                  </a:lnTo>
                  <a:lnTo>
                    <a:pt x="19671" y="1209"/>
                  </a:lnTo>
                  <a:lnTo>
                    <a:pt x="19062" y="0"/>
                  </a:lnTo>
                  <a:lnTo>
                    <a:pt x="0" y="933"/>
                  </a:lnTo>
                  <a:lnTo>
                    <a:pt x="137" y="4947"/>
                  </a:lnTo>
                  <a:lnTo>
                    <a:pt x="542" y="9074"/>
                  </a:lnTo>
                  <a:lnTo>
                    <a:pt x="747" y="14174"/>
                  </a:lnTo>
                  <a:lnTo>
                    <a:pt x="707" y="17910"/>
                  </a:lnTo>
                  <a:lnTo>
                    <a:pt x="1635" y="18777"/>
                  </a:lnTo>
                  <a:lnTo>
                    <a:pt x="2287" y="18846"/>
                  </a:lnTo>
                  <a:lnTo>
                    <a:pt x="2167" y="21466"/>
                  </a:lnTo>
                  <a:lnTo>
                    <a:pt x="16191" y="21600"/>
                  </a:lnTo>
                  <a:lnTo>
                    <a:pt x="15968" y="20902"/>
                  </a:lnTo>
                  <a:lnTo>
                    <a:pt x="16191" y="20336"/>
                  </a:lnTo>
                  <a:lnTo>
                    <a:pt x="16594" y="19743"/>
                  </a:lnTo>
                  <a:lnTo>
                    <a:pt x="15925" y="19128"/>
                  </a:lnTo>
                  <a:lnTo>
                    <a:pt x="16528" y="18671"/>
                  </a:lnTo>
                  <a:lnTo>
                    <a:pt x="16226" y="16748"/>
                  </a:lnTo>
                  <a:lnTo>
                    <a:pt x="16406" y="15799"/>
                  </a:lnTo>
                  <a:lnTo>
                    <a:pt x="16914" y="14128"/>
                  </a:lnTo>
                  <a:lnTo>
                    <a:pt x="17482" y="12918"/>
                  </a:lnTo>
                  <a:lnTo>
                    <a:pt x="18747" y="11291"/>
                  </a:lnTo>
                  <a:lnTo>
                    <a:pt x="18826" y="10470"/>
                  </a:lnTo>
                  <a:lnTo>
                    <a:pt x="19700" y="9134"/>
                  </a:lnTo>
                  <a:lnTo>
                    <a:pt x="19883" y="8178"/>
                  </a:lnTo>
                  <a:lnTo>
                    <a:pt x="20182" y="7383"/>
                  </a:lnTo>
                  <a:lnTo>
                    <a:pt x="20360" y="6794"/>
                  </a:lnTo>
                  <a:lnTo>
                    <a:pt x="20763" y="6319"/>
                  </a:lnTo>
                  <a:lnTo>
                    <a:pt x="21001" y="5066"/>
                  </a:lnTo>
                  <a:lnTo>
                    <a:pt x="21481" y="4497"/>
                  </a:lnTo>
                  <a:lnTo>
                    <a:pt x="21600" y="3833"/>
                  </a:lnTo>
                  <a:lnTo>
                    <a:pt x="21349" y="2424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4" name="Shape">
              <a:extLst>
                <a:ext uri="{FF2B5EF4-FFF2-40B4-BE49-F238E27FC236}">
                  <a16:creationId xmlns:a16="http://schemas.microsoft.com/office/drawing/2014/main" id="{C6AAF462-7A18-4D51-840C-F089CEB4835D}"/>
                </a:ext>
              </a:extLst>
            </p:cNvPr>
            <p:cNvSpPr/>
            <p:nvPr/>
          </p:nvSpPr>
          <p:spPr>
            <a:xfrm>
              <a:off x="9593760" y="7512611"/>
              <a:ext cx="1830946" cy="16219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908" y="10946"/>
                  </a:moveTo>
                  <a:lnTo>
                    <a:pt x="18009" y="11666"/>
                  </a:lnTo>
                  <a:lnTo>
                    <a:pt x="17786" y="12726"/>
                  </a:lnTo>
                  <a:lnTo>
                    <a:pt x="18147" y="13402"/>
                  </a:lnTo>
                  <a:lnTo>
                    <a:pt x="18344" y="14142"/>
                  </a:lnTo>
                  <a:lnTo>
                    <a:pt x="18780" y="14779"/>
                  </a:lnTo>
                  <a:lnTo>
                    <a:pt x="19220" y="15377"/>
                  </a:lnTo>
                  <a:lnTo>
                    <a:pt x="18014" y="14965"/>
                  </a:lnTo>
                  <a:lnTo>
                    <a:pt x="16914" y="14530"/>
                  </a:lnTo>
                  <a:lnTo>
                    <a:pt x="16002" y="14406"/>
                  </a:lnTo>
                  <a:lnTo>
                    <a:pt x="15374" y="14448"/>
                  </a:lnTo>
                  <a:lnTo>
                    <a:pt x="15265" y="15330"/>
                  </a:lnTo>
                  <a:lnTo>
                    <a:pt x="14363" y="14712"/>
                  </a:lnTo>
                  <a:lnTo>
                    <a:pt x="14065" y="15879"/>
                  </a:lnTo>
                  <a:lnTo>
                    <a:pt x="14921" y="16229"/>
                  </a:lnTo>
                  <a:lnTo>
                    <a:pt x="15645" y="15960"/>
                  </a:lnTo>
                  <a:lnTo>
                    <a:pt x="16248" y="16436"/>
                  </a:lnTo>
                  <a:lnTo>
                    <a:pt x="16980" y="15840"/>
                  </a:lnTo>
                  <a:lnTo>
                    <a:pt x="17706" y="15654"/>
                  </a:lnTo>
                  <a:lnTo>
                    <a:pt x="18669" y="15799"/>
                  </a:lnTo>
                  <a:lnTo>
                    <a:pt x="18284" y="16563"/>
                  </a:lnTo>
                  <a:lnTo>
                    <a:pt x="17241" y="16749"/>
                  </a:lnTo>
                  <a:lnTo>
                    <a:pt x="17734" y="17344"/>
                  </a:lnTo>
                  <a:lnTo>
                    <a:pt x="18686" y="17098"/>
                  </a:lnTo>
                  <a:lnTo>
                    <a:pt x="19392" y="16109"/>
                  </a:lnTo>
                  <a:lnTo>
                    <a:pt x="20192" y="15864"/>
                  </a:lnTo>
                  <a:lnTo>
                    <a:pt x="20321" y="16516"/>
                  </a:lnTo>
                  <a:lnTo>
                    <a:pt x="19642" y="17238"/>
                  </a:lnTo>
                  <a:lnTo>
                    <a:pt x="19479" y="18287"/>
                  </a:lnTo>
                  <a:lnTo>
                    <a:pt x="18422" y="18287"/>
                  </a:lnTo>
                  <a:lnTo>
                    <a:pt x="18972" y="18967"/>
                  </a:lnTo>
                  <a:lnTo>
                    <a:pt x="19738" y="19340"/>
                  </a:lnTo>
                  <a:lnTo>
                    <a:pt x="20504" y="19708"/>
                  </a:lnTo>
                  <a:lnTo>
                    <a:pt x="21600" y="20078"/>
                  </a:lnTo>
                  <a:lnTo>
                    <a:pt x="21274" y="20754"/>
                  </a:lnTo>
                  <a:lnTo>
                    <a:pt x="20398" y="20446"/>
                  </a:lnTo>
                  <a:lnTo>
                    <a:pt x="20561" y="21292"/>
                  </a:lnTo>
                  <a:lnTo>
                    <a:pt x="19747" y="21538"/>
                  </a:lnTo>
                  <a:lnTo>
                    <a:pt x="18871" y="21600"/>
                  </a:lnTo>
                  <a:lnTo>
                    <a:pt x="18926" y="20943"/>
                  </a:lnTo>
                  <a:lnTo>
                    <a:pt x="18507" y="20448"/>
                  </a:lnTo>
                  <a:lnTo>
                    <a:pt x="18454" y="19832"/>
                  </a:lnTo>
                  <a:lnTo>
                    <a:pt x="17651" y="19542"/>
                  </a:lnTo>
                  <a:lnTo>
                    <a:pt x="17324" y="19094"/>
                  </a:lnTo>
                  <a:lnTo>
                    <a:pt x="17122" y="19726"/>
                  </a:lnTo>
                  <a:lnTo>
                    <a:pt x="17560" y="20658"/>
                  </a:lnTo>
                  <a:lnTo>
                    <a:pt x="17179" y="21028"/>
                  </a:lnTo>
                  <a:lnTo>
                    <a:pt x="16652" y="21150"/>
                  </a:lnTo>
                  <a:lnTo>
                    <a:pt x="16124" y="20536"/>
                  </a:lnTo>
                  <a:lnTo>
                    <a:pt x="15906" y="19772"/>
                  </a:lnTo>
                  <a:lnTo>
                    <a:pt x="15005" y="19710"/>
                  </a:lnTo>
                  <a:lnTo>
                    <a:pt x="15404" y="20456"/>
                  </a:lnTo>
                  <a:lnTo>
                    <a:pt x="15516" y="21274"/>
                  </a:lnTo>
                  <a:lnTo>
                    <a:pt x="14968" y="21564"/>
                  </a:lnTo>
                  <a:lnTo>
                    <a:pt x="14258" y="21253"/>
                  </a:lnTo>
                  <a:lnTo>
                    <a:pt x="13767" y="21253"/>
                  </a:lnTo>
                  <a:lnTo>
                    <a:pt x="13430" y="20521"/>
                  </a:lnTo>
                  <a:lnTo>
                    <a:pt x="12876" y="20150"/>
                  </a:lnTo>
                  <a:lnTo>
                    <a:pt x="12177" y="20456"/>
                  </a:lnTo>
                  <a:lnTo>
                    <a:pt x="11938" y="19933"/>
                  </a:lnTo>
                  <a:lnTo>
                    <a:pt x="12330" y="18840"/>
                  </a:lnTo>
                  <a:lnTo>
                    <a:pt x="12552" y="17932"/>
                  </a:lnTo>
                  <a:lnTo>
                    <a:pt x="11731" y="18053"/>
                  </a:lnTo>
                  <a:lnTo>
                    <a:pt x="11343" y="19004"/>
                  </a:lnTo>
                  <a:lnTo>
                    <a:pt x="10754" y="18840"/>
                  </a:lnTo>
                  <a:lnTo>
                    <a:pt x="10989" y="18043"/>
                  </a:lnTo>
                  <a:lnTo>
                    <a:pt x="10664" y="17036"/>
                  </a:lnTo>
                  <a:lnTo>
                    <a:pt x="10205" y="17512"/>
                  </a:lnTo>
                  <a:lnTo>
                    <a:pt x="9538" y="17388"/>
                  </a:lnTo>
                  <a:lnTo>
                    <a:pt x="8561" y="17326"/>
                  </a:lnTo>
                  <a:lnTo>
                    <a:pt x="8556" y="18040"/>
                  </a:lnTo>
                  <a:lnTo>
                    <a:pt x="9500" y="18783"/>
                  </a:lnTo>
                  <a:lnTo>
                    <a:pt x="10268" y="18991"/>
                  </a:lnTo>
                  <a:lnTo>
                    <a:pt x="10229" y="19860"/>
                  </a:lnTo>
                  <a:lnTo>
                    <a:pt x="9537" y="19736"/>
                  </a:lnTo>
                  <a:lnTo>
                    <a:pt x="8780" y="19104"/>
                  </a:lnTo>
                  <a:lnTo>
                    <a:pt x="8032" y="18858"/>
                  </a:lnTo>
                  <a:lnTo>
                    <a:pt x="7134" y="18364"/>
                  </a:lnTo>
                  <a:lnTo>
                    <a:pt x="6301" y="18364"/>
                  </a:lnTo>
                  <a:lnTo>
                    <a:pt x="5570" y="18426"/>
                  </a:lnTo>
                  <a:lnTo>
                    <a:pt x="5154" y="17828"/>
                  </a:lnTo>
                  <a:lnTo>
                    <a:pt x="4499" y="17766"/>
                  </a:lnTo>
                  <a:lnTo>
                    <a:pt x="4134" y="16878"/>
                  </a:lnTo>
                  <a:lnTo>
                    <a:pt x="3689" y="15915"/>
                  </a:lnTo>
                  <a:lnTo>
                    <a:pt x="3089" y="16205"/>
                  </a:lnTo>
                  <a:lnTo>
                    <a:pt x="3338" y="17253"/>
                  </a:lnTo>
                  <a:lnTo>
                    <a:pt x="3906" y="17890"/>
                  </a:lnTo>
                  <a:lnTo>
                    <a:pt x="1716" y="18649"/>
                  </a:lnTo>
                  <a:lnTo>
                    <a:pt x="1313" y="17722"/>
                  </a:lnTo>
                  <a:lnTo>
                    <a:pt x="2430" y="15346"/>
                  </a:lnTo>
                  <a:lnTo>
                    <a:pt x="2111" y="13697"/>
                  </a:lnTo>
                  <a:lnTo>
                    <a:pt x="2313" y="12048"/>
                  </a:lnTo>
                  <a:lnTo>
                    <a:pt x="2366" y="10986"/>
                  </a:lnTo>
                  <a:lnTo>
                    <a:pt x="1671" y="10572"/>
                  </a:lnTo>
                  <a:lnTo>
                    <a:pt x="1616" y="9112"/>
                  </a:lnTo>
                  <a:lnTo>
                    <a:pt x="940" y="7436"/>
                  </a:lnTo>
                  <a:lnTo>
                    <a:pt x="816" y="6042"/>
                  </a:lnTo>
                  <a:lnTo>
                    <a:pt x="30" y="5280"/>
                  </a:lnTo>
                  <a:lnTo>
                    <a:pt x="0" y="0"/>
                  </a:lnTo>
                  <a:lnTo>
                    <a:pt x="12774" y="331"/>
                  </a:lnTo>
                  <a:lnTo>
                    <a:pt x="12524" y="1269"/>
                  </a:lnTo>
                  <a:lnTo>
                    <a:pt x="12889" y="2035"/>
                  </a:lnTo>
                  <a:lnTo>
                    <a:pt x="12815" y="2840"/>
                  </a:lnTo>
                  <a:lnTo>
                    <a:pt x="13366" y="3210"/>
                  </a:lnTo>
                  <a:lnTo>
                    <a:pt x="13200" y="3971"/>
                  </a:lnTo>
                  <a:lnTo>
                    <a:pt x="12836" y="4854"/>
                  </a:lnTo>
                  <a:lnTo>
                    <a:pt x="12471" y="6050"/>
                  </a:lnTo>
                  <a:lnTo>
                    <a:pt x="12111" y="6648"/>
                  </a:lnTo>
                  <a:lnTo>
                    <a:pt x="11820" y="7929"/>
                  </a:lnTo>
                  <a:lnTo>
                    <a:pt x="11311" y="8939"/>
                  </a:lnTo>
                  <a:lnTo>
                    <a:pt x="10962" y="10241"/>
                  </a:lnTo>
                  <a:lnTo>
                    <a:pt x="10486" y="11377"/>
                  </a:lnTo>
                  <a:lnTo>
                    <a:pt x="17908" y="10946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5" name="Shape">
              <a:extLst>
                <a:ext uri="{FF2B5EF4-FFF2-40B4-BE49-F238E27FC236}">
                  <a16:creationId xmlns:a16="http://schemas.microsoft.com/office/drawing/2014/main" id="{64DFC1C0-D070-424D-8915-5B806B5DAA09}"/>
                </a:ext>
              </a:extLst>
            </p:cNvPr>
            <p:cNvSpPr/>
            <p:nvPr/>
          </p:nvSpPr>
          <p:spPr>
            <a:xfrm>
              <a:off x="10922189" y="5810301"/>
              <a:ext cx="2773068" cy="8736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45" extrusionOk="0">
                  <a:moveTo>
                    <a:pt x="21600" y="0"/>
                  </a:moveTo>
                  <a:lnTo>
                    <a:pt x="16333" y="2540"/>
                  </a:lnTo>
                  <a:lnTo>
                    <a:pt x="4553" y="5184"/>
                  </a:lnTo>
                  <a:lnTo>
                    <a:pt x="5007" y="6708"/>
                  </a:lnTo>
                  <a:lnTo>
                    <a:pt x="1281" y="7663"/>
                  </a:lnTo>
                  <a:lnTo>
                    <a:pt x="1144" y="9402"/>
                  </a:lnTo>
                  <a:lnTo>
                    <a:pt x="1030" y="11118"/>
                  </a:lnTo>
                  <a:lnTo>
                    <a:pt x="1138" y="12854"/>
                  </a:lnTo>
                  <a:lnTo>
                    <a:pt x="1067" y="14115"/>
                  </a:lnTo>
                  <a:lnTo>
                    <a:pt x="744" y="14863"/>
                  </a:lnTo>
                  <a:lnTo>
                    <a:pt x="622" y="16885"/>
                  </a:lnTo>
                  <a:lnTo>
                    <a:pt x="295" y="18185"/>
                  </a:lnTo>
                  <a:lnTo>
                    <a:pt x="0" y="21516"/>
                  </a:lnTo>
                  <a:cubicBezTo>
                    <a:pt x="2433" y="21600"/>
                    <a:pt x="4867" y="21503"/>
                    <a:pt x="7299" y="21227"/>
                  </a:cubicBezTo>
                  <a:cubicBezTo>
                    <a:pt x="9710" y="20952"/>
                    <a:pt x="12120" y="20501"/>
                    <a:pt x="14525" y="19873"/>
                  </a:cubicBezTo>
                  <a:lnTo>
                    <a:pt x="14827" y="17582"/>
                  </a:lnTo>
                  <a:lnTo>
                    <a:pt x="15399" y="17016"/>
                  </a:lnTo>
                  <a:lnTo>
                    <a:pt x="15856" y="16330"/>
                  </a:lnTo>
                  <a:lnTo>
                    <a:pt x="16751" y="15185"/>
                  </a:lnTo>
                  <a:lnTo>
                    <a:pt x="17077" y="14269"/>
                  </a:lnTo>
                  <a:lnTo>
                    <a:pt x="17731" y="12318"/>
                  </a:lnTo>
                  <a:lnTo>
                    <a:pt x="18185" y="10348"/>
                  </a:lnTo>
                  <a:lnTo>
                    <a:pt x="18752" y="9658"/>
                  </a:lnTo>
                  <a:lnTo>
                    <a:pt x="19090" y="9121"/>
                  </a:lnTo>
                  <a:lnTo>
                    <a:pt x="19367" y="8090"/>
                  </a:lnTo>
                  <a:lnTo>
                    <a:pt x="19656" y="7213"/>
                  </a:lnTo>
                  <a:lnTo>
                    <a:pt x="19968" y="6566"/>
                  </a:lnTo>
                  <a:lnTo>
                    <a:pt x="20285" y="5477"/>
                  </a:lnTo>
                  <a:lnTo>
                    <a:pt x="20668" y="4672"/>
                  </a:lnTo>
                  <a:lnTo>
                    <a:pt x="21099" y="3608"/>
                  </a:lnTo>
                  <a:lnTo>
                    <a:pt x="21425" y="216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6" name="Shape">
              <a:extLst>
                <a:ext uri="{FF2B5EF4-FFF2-40B4-BE49-F238E27FC236}">
                  <a16:creationId xmlns:a16="http://schemas.microsoft.com/office/drawing/2014/main" id="{7BD5B026-27EF-4897-B7F3-F92E12855827}"/>
                </a:ext>
              </a:extLst>
            </p:cNvPr>
            <p:cNvSpPr/>
            <p:nvPr/>
          </p:nvSpPr>
          <p:spPr>
            <a:xfrm>
              <a:off x="12772417" y="5554446"/>
              <a:ext cx="2954551" cy="125501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185" y="21600"/>
                  </a:moveTo>
                  <a:lnTo>
                    <a:pt x="11850" y="15566"/>
                  </a:lnTo>
                  <a:lnTo>
                    <a:pt x="9627" y="16530"/>
                  </a:lnTo>
                  <a:lnTo>
                    <a:pt x="8191" y="14866"/>
                  </a:lnTo>
                  <a:lnTo>
                    <a:pt x="5240" y="15227"/>
                  </a:lnTo>
                  <a:lnTo>
                    <a:pt x="3660" y="17346"/>
                  </a:lnTo>
                  <a:lnTo>
                    <a:pt x="0" y="18303"/>
                  </a:lnTo>
                  <a:lnTo>
                    <a:pt x="327" y="16416"/>
                  </a:lnTo>
                  <a:lnTo>
                    <a:pt x="1000" y="15944"/>
                  </a:lnTo>
                  <a:lnTo>
                    <a:pt x="2272" y="14559"/>
                  </a:lnTo>
                  <a:lnTo>
                    <a:pt x="3084" y="12876"/>
                  </a:lnTo>
                  <a:lnTo>
                    <a:pt x="3532" y="11301"/>
                  </a:lnTo>
                  <a:lnTo>
                    <a:pt x="4370" y="10621"/>
                  </a:lnTo>
                  <a:lnTo>
                    <a:pt x="4795" y="9178"/>
                  </a:lnTo>
                  <a:lnTo>
                    <a:pt x="5293" y="8614"/>
                  </a:lnTo>
                  <a:lnTo>
                    <a:pt x="5530" y="7843"/>
                  </a:lnTo>
                  <a:lnTo>
                    <a:pt x="6385" y="6414"/>
                  </a:lnTo>
                  <a:lnTo>
                    <a:pt x="6699" y="4504"/>
                  </a:lnTo>
                  <a:lnTo>
                    <a:pt x="20351" y="0"/>
                  </a:lnTo>
                  <a:lnTo>
                    <a:pt x="20645" y="1129"/>
                  </a:lnTo>
                  <a:lnTo>
                    <a:pt x="21600" y="5073"/>
                  </a:lnTo>
                  <a:lnTo>
                    <a:pt x="21520" y="5890"/>
                  </a:lnTo>
                  <a:lnTo>
                    <a:pt x="20190" y="1019"/>
                  </a:lnTo>
                  <a:lnTo>
                    <a:pt x="19989" y="1681"/>
                  </a:lnTo>
                  <a:lnTo>
                    <a:pt x="20249" y="2665"/>
                  </a:lnTo>
                  <a:lnTo>
                    <a:pt x="20124" y="3545"/>
                  </a:lnTo>
                  <a:lnTo>
                    <a:pt x="19639" y="3230"/>
                  </a:lnTo>
                  <a:lnTo>
                    <a:pt x="19197" y="2752"/>
                  </a:lnTo>
                  <a:lnTo>
                    <a:pt x="19106" y="3685"/>
                  </a:lnTo>
                  <a:lnTo>
                    <a:pt x="18856" y="4374"/>
                  </a:lnTo>
                  <a:lnTo>
                    <a:pt x="18382" y="4856"/>
                  </a:lnTo>
                  <a:lnTo>
                    <a:pt x="18504" y="5910"/>
                  </a:lnTo>
                  <a:lnTo>
                    <a:pt x="19146" y="5595"/>
                  </a:lnTo>
                  <a:lnTo>
                    <a:pt x="19935" y="4799"/>
                  </a:lnTo>
                  <a:lnTo>
                    <a:pt x="20388" y="4719"/>
                  </a:lnTo>
                  <a:lnTo>
                    <a:pt x="20264" y="5809"/>
                  </a:lnTo>
                  <a:lnTo>
                    <a:pt x="20959" y="4498"/>
                  </a:lnTo>
                  <a:lnTo>
                    <a:pt x="21162" y="5642"/>
                  </a:lnTo>
                  <a:lnTo>
                    <a:pt x="20937" y="6870"/>
                  </a:lnTo>
                  <a:cubicBezTo>
                    <a:pt x="20836" y="6870"/>
                    <a:pt x="20736" y="6870"/>
                    <a:pt x="20636" y="6870"/>
                  </a:cubicBezTo>
                  <a:cubicBezTo>
                    <a:pt x="20536" y="6870"/>
                    <a:pt x="20436" y="6870"/>
                    <a:pt x="20335" y="6870"/>
                  </a:cubicBezTo>
                  <a:lnTo>
                    <a:pt x="19815" y="6790"/>
                  </a:lnTo>
                  <a:lnTo>
                    <a:pt x="19815" y="7700"/>
                  </a:lnTo>
                  <a:lnTo>
                    <a:pt x="20660" y="7994"/>
                  </a:lnTo>
                  <a:lnTo>
                    <a:pt x="20131" y="8978"/>
                  </a:lnTo>
                  <a:lnTo>
                    <a:pt x="19655" y="9456"/>
                  </a:lnTo>
                  <a:lnTo>
                    <a:pt x="19158" y="8282"/>
                  </a:lnTo>
                  <a:lnTo>
                    <a:pt x="18694" y="8924"/>
                  </a:lnTo>
                  <a:lnTo>
                    <a:pt x="18399" y="9343"/>
                  </a:lnTo>
                  <a:lnTo>
                    <a:pt x="18501" y="10330"/>
                  </a:lnTo>
                  <a:lnTo>
                    <a:pt x="18977" y="10410"/>
                  </a:lnTo>
                  <a:lnTo>
                    <a:pt x="19646" y="10647"/>
                  </a:lnTo>
                  <a:lnTo>
                    <a:pt x="20122" y="10567"/>
                  </a:lnTo>
                  <a:lnTo>
                    <a:pt x="20324" y="11521"/>
                  </a:lnTo>
                  <a:lnTo>
                    <a:pt x="20188" y="12799"/>
                  </a:lnTo>
                  <a:lnTo>
                    <a:pt x="19590" y="13170"/>
                  </a:lnTo>
                  <a:lnTo>
                    <a:pt x="18969" y="12929"/>
                  </a:lnTo>
                  <a:lnTo>
                    <a:pt x="18697" y="13407"/>
                  </a:lnTo>
                  <a:lnTo>
                    <a:pt x="18315" y="13886"/>
                  </a:lnTo>
                  <a:lnTo>
                    <a:pt x="17874" y="14120"/>
                  </a:lnTo>
                  <a:lnTo>
                    <a:pt x="17398" y="14890"/>
                  </a:lnTo>
                  <a:lnTo>
                    <a:pt x="17565" y="16429"/>
                  </a:lnTo>
                  <a:lnTo>
                    <a:pt x="17337" y="17359"/>
                  </a:lnTo>
                  <a:lnTo>
                    <a:pt x="17102" y="18071"/>
                  </a:lnTo>
                  <a:lnTo>
                    <a:pt x="16965" y="18894"/>
                  </a:lnTo>
                  <a:lnTo>
                    <a:pt x="16965" y="21022"/>
                  </a:lnTo>
                  <a:lnTo>
                    <a:pt x="16046" y="18005"/>
                  </a:lnTo>
                  <a:lnTo>
                    <a:pt x="16182" y="19359"/>
                  </a:lnTo>
                  <a:lnTo>
                    <a:pt x="16532" y="20748"/>
                  </a:lnTo>
                  <a:lnTo>
                    <a:pt x="16106" y="21012"/>
                  </a:lnTo>
                  <a:lnTo>
                    <a:pt x="15561" y="20822"/>
                  </a:lnTo>
                  <a:lnTo>
                    <a:pt x="15185" y="2160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7" name="Shape">
              <a:extLst>
                <a:ext uri="{FF2B5EF4-FFF2-40B4-BE49-F238E27FC236}">
                  <a16:creationId xmlns:a16="http://schemas.microsoft.com/office/drawing/2014/main" id="{1A64CC98-962E-4AC7-B66B-32422CB167E8}"/>
                </a:ext>
              </a:extLst>
            </p:cNvPr>
            <p:cNvSpPr/>
            <p:nvPr/>
          </p:nvSpPr>
          <p:spPr>
            <a:xfrm>
              <a:off x="13215109" y="6395199"/>
              <a:ext cx="1646524" cy="120575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294" y="414"/>
                  </a:moveTo>
                  <a:lnTo>
                    <a:pt x="540" y="2813"/>
                  </a:lnTo>
                  <a:lnTo>
                    <a:pt x="597" y="3793"/>
                  </a:lnTo>
                  <a:lnTo>
                    <a:pt x="0" y="4420"/>
                  </a:lnTo>
                  <a:lnTo>
                    <a:pt x="477" y="5308"/>
                  </a:lnTo>
                  <a:lnTo>
                    <a:pt x="7347" y="14789"/>
                  </a:lnTo>
                  <a:lnTo>
                    <a:pt x="8561" y="15893"/>
                  </a:lnTo>
                  <a:lnTo>
                    <a:pt x="9390" y="17505"/>
                  </a:lnTo>
                  <a:lnTo>
                    <a:pt x="10751" y="19510"/>
                  </a:lnTo>
                  <a:lnTo>
                    <a:pt x="11050" y="20851"/>
                  </a:lnTo>
                  <a:lnTo>
                    <a:pt x="11899" y="21600"/>
                  </a:lnTo>
                  <a:lnTo>
                    <a:pt x="13653" y="21548"/>
                  </a:lnTo>
                  <a:lnTo>
                    <a:pt x="14061" y="20381"/>
                  </a:lnTo>
                  <a:lnTo>
                    <a:pt x="13207" y="19970"/>
                  </a:lnTo>
                  <a:lnTo>
                    <a:pt x="12574" y="18967"/>
                  </a:lnTo>
                  <a:lnTo>
                    <a:pt x="13510" y="18887"/>
                  </a:lnTo>
                  <a:lnTo>
                    <a:pt x="14282" y="18943"/>
                  </a:lnTo>
                  <a:lnTo>
                    <a:pt x="15379" y="18525"/>
                  </a:lnTo>
                  <a:lnTo>
                    <a:pt x="16006" y="17230"/>
                  </a:lnTo>
                  <a:lnTo>
                    <a:pt x="17006" y="16450"/>
                  </a:lnTo>
                  <a:lnTo>
                    <a:pt x="17370" y="15705"/>
                  </a:lnTo>
                  <a:lnTo>
                    <a:pt x="17551" y="14928"/>
                  </a:lnTo>
                  <a:lnTo>
                    <a:pt x="17429" y="13685"/>
                  </a:lnTo>
                  <a:lnTo>
                    <a:pt x="18525" y="14019"/>
                  </a:lnTo>
                  <a:lnTo>
                    <a:pt x="19196" y="12598"/>
                  </a:lnTo>
                  <a:lnTo>
                    <a:pt x="19318" y="11627"/>
                  </a:lnTo>
                  <a:lnTo>
                    <a:pt x="19624" y="10307"/>
                  </a:lnTo>
                  <a:lnTo>
                    <a:pt x="20501" y="8807"/>
                  </a:lnTo>
                  <a:lnTo>
                    <a:pt x="21600" y="7139"/>
                  </a:lnTo>
                  <a:lnTo>
                    <a:pt x="15412" y="735"/>
                  </a:lnTo>
                  <a:lnTo>
                    <a:pt x="11646" y="1783"/>
                  </a:lnTo>
                  <a:lnTo>
                    <a:pt x="9020" y="0"/>
                  </a:lnTo>
                  <a:lnTo>
                    <a:pt x="3294" y="414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8" name="Shape">
              <a:extLst>
                <a:ext uri="{FF2B5EF4-FFF2-40B4-BE49-F238E27FC236}">
                  <a16:creationId xmlns:a16="http://schemas.microsoft.com/office/drawing/2014/main" id="{73BD172D-BAAE-4226-814F-46345F04BB13}"/>
                </a:ext>
              </a:extLst>
            </p:cNvPr>
            <p:cNvSpPr/>
            <p:nvPr/>
          </p:nvSpPr>
          <p:spPr>
            <a:xfrm>
              <a:off x="12458526" y="6547394"/>
              <a:ext cx="1690839" cy="180847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994"/>
                  </a:moveTo>
                  <a:lnTo>
                    <a:pt x="2164" y="10410"/>
                  </a:lnTo>
                  <a:lnTo>
                    <a:pt x="2970" y="11991"/>
                  </a:lnTo>
                  <a:lnTo>
                    <a:pt x="3936" y="13442"/>
                  </a:lnTo>
                  <a:lnTo>
                    <a:pt x="3777" y="14166"/>
                  </a:lnTo>
                  <a:lnTo>
                    <a:pt x="3189" y="14939"/>
                  </a:lnTo>
                  <a:lnTo>
                    <a:pt x="3189" y="15775"/>
                  </a:lnTo>
                  <a:lnTo>
                    <a:pt x="3310" y="17154"/>
                  </a:lnTo>
                  <a:lnTo>
                    <a:pt x="3132" y="18057"/>
                  </a:lnTo>
                  <a:lnTo>
                    <a:pt x="3290" y="19223"/>
                  </a:lnTo>
                  <a:lnTo>
                    <a:pt x="3827" y="20462"/>
                  </a:lnTo>
                  <a:lnTo>
                    <a:pt x="4462" y="21514"/>
                  </a:lnTo>
                  <a:lnTo>
                    <a:pt x="16282" y="20968"/>
                  </a:lnTo>
                  <a:lnTo>
                    <a:pt x="16578" y="21600"/>
                  </a:lnTo>
                  <a:lnTo>
                    <a:pt x="17414" y="21454"/>
                  </a:lnTo>
                  <a:lnTo>
                    <a:pt x="17593" y="20304"/>
                  </a:lnTo>
                  <a:lnTo>
                    <a:pt x="17988" y="19729"/>
                  </a:lnTo>
                  <a:lnTo>
                    <a:pt x="18618" y="20061"/>
                  </a:lnTo>
                  <a:lnTo>
                    <a:pt x="19490" y="20228"/>
                  </a:lnTo>
                  <a:lnTo>
                    <a:pt x="19962" y="19678"/>
                  </a:lnTo>
                  <a:lnTo>
                    <a:pt x="19520" y="18772"/>
                  </a:lnTo>
                  <a:lnTo>
                    <a:pt x="19981" y="17929"/>
                  </a:lnTo>
                  <a:lnTo>
                    <a:pt x="19664" y="17265"/>
                  </a:lnTo>
                  <a:lnTo>
                    <a:pt x="20098" y="16766"/>
                  </a:lnTo>
                  <a:lnTo>
                    <a:pt x="20038" y="16211"/>
                  </a:lnTo>
                  <a:lnTo>
                    <a:pt x="20890" y="15477"/>
                  </a:lnTo>
                  <a:lnTo>
                    <a:pt x="21009" y="14481"/>
                  </a:lnTo>
                  <a:lnTo>
                    <a:pt x="21424" y="13797"/>
                  </a:lnTo>
                  <a:lnTo>
                    <a:pt x="21600" y="13079"/>
                  </a:lnTo>
                  <a:lnTo>
                    <a:pt x="21322" y="12473"/>
                  </a:lnTo>
                  <a:lnTo>
                    <a:pt x="20264" y="12824"/>
                  </a:lnTo>
                  <a:lnTo>
                    <a:pt x="20202" y="11916"/>
                  </a:lnTo>
                  <a:lnTo>
                    <a:pt x="20359" y="10892"/>
                  </a:lnTo>
                  <a:lnTo>
                    <a:pt x="18991" y="9696"/>
                  </a:lnTo>
                  <a:lnTo>
                    <a:pt x="18099" y="8554"/>
                  </a:lnTo>
                  <a:lnTo>
                    <a:pt x="16922" y="7788"/>
                  </a:lnTo>
                  <a:lnTo>
                    <a:pt x="10028" y="1232"/>
                  </a:lnTo>
                  <a:lnTo>
                    <a:pt x="10720" y="561"/>
                  </a:lnTo>
                  <a:lnTo>
                    <a:pt x="10519" y="0"/>
                  </a:lnTo>
                  <a:cubicBezTo>
                    <a:pt x="8809" y="228"/>
                    <a:pt x="7093" y="424"/>
                    <a:pt x="5374" y="588"/>
                  </a:cubicBezTo>
                  <a:cubicBezTo>
                    <a:pt x="3586" y="758"/>
                    <a:pt x="1794" y="894"/>
                    <a:pt x="0" y="994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09" name="Shape">
              <a:extLst>
                <a:ext uri="{FF2B5EF4-FFF2-40B4-BE49-F238E27FC236}">
                  <a16:creationId xmlns:a16="http://schemas.microsoft.com/office/drawing/2014/main" id="{D21DE571-A64C-4F6E-94FD-5AB001A11E9E}"/>
                </a:ext>
              </a:extLst>
            </p:cNvPr>
            <p:cNvSpPr/>
            <p:nvPr/>
          </p:nvSpPr>
          <p:spPr>
            <a:xfrm>
              <a:off x="11867660" y="8180840"/>
              <a:ext cx="2817934" cy="22834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5338" y="0"/>
                  </a:moveTo>
                  <a:lnTo>
                    <a:pt x="15743" y="287"/>
                  </a:lnTo>
                  <a:lnTo>
                    <a:pt x="16487" y="531"/>
                  </a:lnTo>
                  <a:lnTo>
                    <a:pt x="16416" y="1226"/>
                  </a:lnTo>
                  <a:lnTo>
                    <a:pt x="16687" y="1717"/>
                  </a:lnTo>
                  <a:lnTo>
                    <a:pt x="16791" y="2392"/>
                  </a:lnTo>
                  <a:lnTo>
                    <a:pt x="16861" y="3122"/>
                  </a:lnTo>
                  <a:lnTo>
                    <a:pt x="17122" y="3843"/>
                  </a:lnTo>
                  <a:lnTo>
                    <a:pt x="17265" y="4398"/>
                  </a:lnTo>
                  <a:lnTo>
                    <a:pt x="17618" y="5141"/>
                  </a:lnTo>
                  <a:lnTo>
                    <a:pt x="17940" y="5698"/>
                  </a:lnTo>
                  <a:lnTo>
                    <a:pt x="18130" y="6254"/>
                  </a:lnTo>
                  <a:lnTo>
                    <a:pt x="17649" y="6296"/>
                  </a:lnTo>
                  <a:lnTo>
                    <a:pt x="17896" y="6912"/>
                  </a:lnTo>
                  <a:lnTo>
                    <a:pt x="18550" y="7072"/>
                  </a:lnTo>
                  <a:lnTo>
                    <a:pt x="18989" y="7439"/>
                  </a:lnTo>
                  <a:lnTo>
                    <a:pt x="19227" y="8114"/>
                  </a:lnTo>
                  <a:lnTo>
                    <a:pt x="19099" y="8622"/>
                  </a:lnTo>
                  <a:lnTo>
                    <a:pt x="18720" y="8316"/>
                  </a:lnTo>
                  <a:lnTo>
                    <a:pt x="18282" y="7963"/>
                  </a:lnTo>
                  <a:lnTo>
                    <a:pt x="18461" y="8697"/>
                  </a:lnTo>
                  <a:lnTo>
                    <a:pt x="18805" y="9138"/>
                  </a:lnTo>
                  <a:lnTo>
                    <a:pt x="19042" y="9563"/>
                  </a:lnTo>
                  <a:lnTo>
                    <a:pt x="19280" y="10278"/>
                  </a:lnTo>
                  <a:lnTo>
                    <a:pt x="19493" y="9330"/>
                  </a:lnTo>
                  <a:lnTo>
                    <a:pt x="19826" y="9708"/>
                  </a:lnTo>
                  <a:lnTo>
                    <a:pt x="19647" y="10663"/>
                  </a:lnTo>
                  <a:lnTo>
                    <a:pt x="20107" y="11102"/>
                  </a:lnTo>
                  <a:lnTo>
                    <a:pt x="20642" y="12172"/>
                  </a:lnTo>
                  <a:lnTo>
                    <a:pt x="20891" y="12817"/>
                  </a:lnTo>
                  <a:lnTo>
                    <a:pt x="21140" y="13397"/>
                  </a:lnTo>
                  <a:lnTo>
                    <a:pt x="21412" y="14011"/>
                  </a:lnTo>
                  <a:lnTo>
                    <a:pt x="21225" y="14493"/>
                  </a:lnTo>
                  <a:lnTo>
                    <a:pt x="20740" y="13369"/>
                  </a:lnTo>
                  <a:lnTo>
                    <a:pt x="20812" y="14368"/>
                  </a:lnTo>
                  <a:lnTo>
                    <a:pt x="21307" y="14938"/>
                  </a:lnTo>
                  <a:lnTo>
                    <a:pt x="21260" y="15598"/>
                  </a:lnTo>
                  <a:lnTo>
                    <a:pt x="21353" y="16035"/>
                  </a:lnTo>
                  <a:lnTo>
                    <a:pt x="21493" y="16749"/>
                  </a:lnTo>
                  <a:lnTo>
                    <a:pt x="21600" y="17416"/>
                  </a:lnTo>
                  <a:lnTo>
                    <a:pt x="21379" y="18007"/>
                  </a:lnTo>
                  <a:lnTo>
                    <a:pt x="21035" y="18251"/>
                  </a:lnTo>
                  <a:lnTo>
                    <a:pt x="20885" y="18884"/>
                  </a:lnTo>
                  <a:lnTo>
                    <a:pt x="20885" y="19616"/>
                  </a:lnTo>
                  <a:lnTo>
                    <a:pt x="21230" y="20217"/>
                  </a:lnTo>
                  <a:lnTo>
                    <a:pt x="20982" y="20653"/>
                  </a:lnTo>
                  <a:lnTo>
                    <a:pt x="20293" y="20842"/>
                  </a:lnTo>
                  <a:lnTo>
                    <a:pt x="20198" y="21280"/>
                  </a:lnTo>
                  <a:lnTo>
                    <a:pt x="19703" y="21556"/>
                  </a:lnTo>
                  <a:lnTo>
                    <a:pt x="19289" y="21600"/>
                  </a:lnTo>
                  <a:lnTo>
                    <a:pt x="18742" y="21438"/>
                  </a:lnTo>
                  <a:lnTo>
                    <a:pt x="19222" y="21013"/>
                  </a:lnTo>
                  <a:cubicBezTo>
                    <a:pt x="19287" y="20957"/>
                    <a:pt x="19352" y="20901"/>
                    <a:pt x="19417" y="20844"/>
                  </a:cubicBezTo>
                  <a:cubicBezTo>
                    <a:pt x="19482" y="20788"/>
                    <a:pt x="19547" y="20731"/>
                    <a:pt x="19612" y="20675"/>
                  </a:cubicBezTo>
                  <a:lnTo>
                    <a:pt x="19008" y="20576"/>
                  </a:lnTo>
                  <a:lnTo>
                    <a:pt x="18690" y="20283"/>
                  </a:lnTo>
                  <a:lnTo>
                    <a:pt x="19045" y="19522"/>
                  </a:lnTo>
                  <a:lnTo>
                    <a:pt x="18652" y="18877"/>
                  </a:lnTo>
                  <a:lnTo>
                    <a:pt x="17939" y="18877"/>
                  </a:lnTo>
                  <a:lnTo>
                    <a:pt x="17417" y="18612"/>
                  </a:lnTo>
                  <a:lnTo>
                    <a:pt x="17110" y="17777"/>
                  </a:lnTo>
                  <a:lnTo>
                    <a:pt x="17014" y="17042"/>
                  </a:lnTo>
                  <a:lnTo>
                    <a:pt x="16788" y="16498"/>
                  </a:lnTo>
                  <a:lnTo>
                    <a:pt x="16456" y="16733"/>
                  </a:lnTo>
                  <a:lnTo>
                    <a:pt x="15922" y="16968"/>
                  </a:lnTo>
                  <a:lnTo>
                    <a:pt x="15699" y="16235"/>
                  </a:lnTo>
                  <a:lnTo>
                    <a:pt x="15010" y="15722"/>
                  </a:lnTo>
                  <a:lnTo>
                    <a:pt x="15719" y="15459"/>
                  </a:lnTo>
                  <a:lnTo>
                    <a:pt x="16072" y="14946"/>
                  </a:lnTo>
                  <a:lnTo>
                    <a:pt x="15625" y="14696"/>
                  </a:lnTo>
                  <a:lnTo>
                    <a:pt x="15272" y="15179"/>
                  </a:lnTo>
                  <a:lnTo>
                    <a:pt x="14835" y="15005"/>
                  </a:lnTo>
                  <a:lnTo>
                    <a:pt x="14455" y="14696"/>
                  </a:lnTo>
                  <a:lnTo>
                    <a:pt x="14150" y="13993"/>
                  </a:lnTo>
                  <a:lnTo>
                    <a:pt x="14335" y="13114"/>
                  </a:lnTo>
                  <a:lnTo>
                    <a:pt x="14658" y="12896"/>
                  </a:lnTo>
                  <a:lnTo>
                    <a:pt x="14729" y="11831"/>
                  </a:lnTo>
                  <a:lnTo>
                    <a:pt x="14463" y="11134"/>
                  </a:lnTo>
                  <a:lnTo>
                    <a:pt x="13867" y="10831"/>
                  </a:lnTo>
                  <a:lnTo>
                    <a:pt x="13915" y="11533"/>
                  </a:lnTo>
                  <a:lnTo>
                    <a:pt x="14365" y="12166"/>
                  </a:lnTo>
                  <a:lnTo>
                    <a:pt x="14134" y="12620"/>
                  </a:lnTo>
                  <a:lnTo>
                    <a:pt x="13641" y="12110"/>
                  </a:lnTo>
                  <a:lnTo>
                    <a:pt x="13231" y="11612"/>
                  </a:lnTo>
                  <a:lnTo>
                    <a:pt x="13222" y="10660"/>
                  </a:lnTo>
                  <a:lnTo>
                    <a:pt x="13796" y="9468"/>
                  </a:lnTo>
                  <a:lnTo>
                    <a:pt x="13865" y="8589"/>
                  </a:lnTo>
                  <a:lnTo>
                    <a:pt x="13664" y="7975"/>
                  </a:lnTo>
                  <a:lnTo>
                    <a:pt x="13379" y="7357"/>
                  </a:lnTo>
                  <a:lnTo>
                    <a:pt x="13238" y="6789"/>
                  </a:lnTo>
                  <a:lnTo>
                    <a:pt x="12718" y="6833"/>
                  </a:lnTo>
                  <a:lnTo>
                    <a:pt x="12315" y="7094"/>
                  </a:lnTo>
                  <a:lnTo>
                    <a:pt x="12227" y="6289"/>
                  </a:lnTo>
                  <a:lnTo>
                    <a:pt x="11880" y="5865"/>
                  </a:lnTo>
                  <a:lnTo>
                    <a:pt x="11446" y="5703"/>
                  </a:lnTo>
                  <a:lnTo>
                    <a:pt x="11154" y="4973"/>
                  </a:lnTo>
                  <a:lnTo>
                    <a:pt x="10395" y="4622"/>
                  </a:lnTo>
                  <a:lnTo>
                    <a:pt x="10242" y="3579"/>
                  </a:lnTo>
                  <a:lnTo>
                    <a:pt x="9626" y="3579"/>
                  </a:lnTo>
                  <a:lnTo>
                    <a:pt x="9006" y="3623"/>
                  </a:lnTo>
                  <a:lnTo>
                    <a:pt x="8795" y="4259"/>
                  </a:lnTo>
                  <a:lnTo>
                    <a:pt x="8440" y="4773"/>
                  </a:lnTo>
                  <a:lnTo>
                    <a:pt x="8086" y="4962"/>
                  </a:lnTo>
                  <a:lnTo>
                    <a:pt x="8022" y="5442"/>
                  </a:lnTo>
                  <a:lnTo>
                    <a:pt x="7722" y="5837"/>
                  </a:lnTo>
                  <a:lnTo>
                    <a:pt x="7364" y="5638"/>
                  </a:lnTo>
                  <a:lnTo>
                    <a:pt x="7502" y="4995"/>
                  </a:lnTo>
                  <a:lnTo>
                    <a:pt x="6597" y="5287"/>
                  </a:lnTo>
                  <a:lnTo>
                    <a:pt x="6312" y="5767"/>
                  </a:lnTo>
                  <a:lnTo>
                    <a:pt x="5989" y="5285"/>
                  </a:lnTo>
                  <a:lnTo>
                    <a:pt x="5787" y="4625"/>
                  </a:lnTo>
                  <a:lnTo>
                    <a:pt x="5184" y="3896"/>
                  </a:lnTo>
                  <a:lnTo>
                    <a:pt x="5908" y="3896"/>
                  </a:lnTo>
                  <a:lnTo>
                    <a:pt x="5523" y="3340"/>
                  </a:lnTo>
                  <a:lnTo>
                    <a:pt x="5133" y="3123"/>
                  </a:lnTo>
                  <a:lnTo>
                    <a:pt x="4840" y="3940"/>
                  </a:lnTo>
                  <a:lnTo>
                    <a:pt x="4324" y="3395"/>
                  </a:lnTo>
                  <a:lnTo>
                    <a:pt x="3406" y="3484"/>
                  </a:lnTo>
                  <a:lnTo>
                    <a:pt x="3030" y="3191"/>
                  </a:lnTo>
                  <a:lnTo>
                    <a:pt x="3525" y="3059"/>
                  </a:lnTo>
                  <a:lnTo>
                    <a:pt x="3325" y="2713"/>
                  </a:lnTo>
                  <a:lnTo>
                    <a:pt x="2308" y="3020"/>
                  </a:lnTo>
                  <a:lnTo>
                    <a:pt x="1759" y="3256"/>
                  </a:lnTo>
                  <a:lnTo>
                    <a:pt x="2663" y="3417"/>
                  </a:lnTo>
                  <a:lnTo>
                    <a:pt x="2699" y="3899"/>
                  </a:lnTo>
                  <a:lnTo>
                    <a:pt x="1951" y="3899"/>
                  </a:lnTo>
                  <a:lnTo>
                    <a:pt x="1358" y="3651"/>
                  </a:lnTo>
                  <a:lnTo>
                    <a:pt x="1419" y="3096"/>
                  </a:lnTo>
                  <a:lnTo>
                    <a:pt x="1715" y="2700"/>
                  </a:lnTo>
                  <a:lnTo>
                    <a:pt x="1291" y="2570"/>
                  </a:lnTo>
                  <a:lnTo>
                    <a:pt x="922" y="3005"/>
                  </a:lnTo>
                  <a:lnTo>
                    <a:pt x="752" y="3542"/>
                  </a:lnTo>
                  <a:lnTo>
                    <a:pt x="433" y="3743"/>
                  </a:lnTo>
                  <a:lnTo>
                    <a:pt x="0" y="3364"/>
                  </a:lnTo>
                  <a:lnTo>
                    <a:pt x="477" y="3114"/>
                  </a:lnTo>
                  <a:lnTo>
                    <a:pt x="442" y="2531"/>
                  </a:lnTo>
                  <a:lnTo>
                    <a:pt x="337" y="1759"/>
                  </a:lnTo>
                  <a:lnTo>
                    <a:pt x="266" y="1218"/>
                  </a:lnTo>
                  <a:lnTo>
                    <a:pt x="6946" y="617"/>
                  </a:lnTo>
                  <a:lnTo>
                    <a:pt x="7287" y="1491"/>
                  </a:lnTo>
                  <a:lnTo>
                    <a:pt x="14358" y="1080"/>
                  </a:lnTo>
                  <a:lnTo>
                    <a:pt x="14556" y="1520"/>
                  </a:lnTo>
                  <a:lnTo>
                    <a:pt x="14898" y="1465"/>
                  </a:lnTo>
                  <a:lnTo>
                    <a:pt x="15000" y="599"/>
                  </a:lnTo>
                  <a:lnTo>
                    <a:pt x="15338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0" name="Shape">
              <a:extLst>
                <a:ext uri="{FF2B5EF4-FFF2-40B4-BE49-F238E27FC236}">
                  <a16:creationId xmlns:a16="http://schemas.microsoft.com/office/drawing/2014/main" id="{722210E7-D6C8-4452-B8A9-E02277C540CD}"/>
                </a:ext>
              </a:extLst>
            </p:cNvPr>
            <p:cNvSpPr/>
            <p:nvPr/>
          </p:nvSpPr>
          <p:spPr>
            <a:xfrm>
              <a:off x="10459352" y="6664693"/>
              <a:ext cx="1127535" cy="19956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895" y="0"/>
                  </a:moveTo>
                  <a:lnTo>
                    <a:pt x="21495" y="957"/>
                  </a:lnTo>
                  <a:lnTo>
                    <a:pt x="21600" y="2834"/>
                  </a:lnTo>
                  <a:lnTo>
                    <a:pt x="21578" y="20870"/>
                  </a:lnTo>
                  <a:lnTo>
                    <a:pt x="19772" y="20617"/>
                  </a:lnTo>
                  <a:lnTo>
                    <a:pt x="19003" y="20971"/>
                  </a:lnTo>
                  <a:lnTo>
                    <a:pt x="17200" y="20870"/>
                  </a:lnTo>
                  <a:lnTo>
                    <a:pt x="14947" y="21219"/>
                  </a:lnTo>
                  <a:lnTo>
                    <a:pt x="14108" y="21600"/>
                  </a:lnTo>
                  <a:lnTo>
                    <a:pt x="12710" y="20689"/>
                  </a:lnTo>
                  <a:lnTo>
                    <a:pt x="12039" y="19616"/>
                  </a:lnTo>
                  <a:lnTo>
                    <a:pt x="12383" y="18240"/>
                  </a:lnTo>
                  <a:lnTo>
                    <a:pt x="0" y="18505"/>
                  </a:lnTo>
                  <a:lnTo>
                    <a:pt x="1386" y="16784"/>
                  </a:lnTo>
                  <a:lnTo>
                    <a:pt x="2642" y="15425"/>
                  </a:lnTo>
                  <a:lnTo>
                    <a:pt x="2940" y="14419"/>
                  </a:lnTo>
                  <a:lnTo>
                    <a:pt x="4951" y="11821"/>
                  </a:lnTo>
                  <a:lnTo>
                    <a:pt x="4054" y="11672"/>
                  </a:lnTo>
                  <a:lnTo>
                    <a:pt x="4057" y="10836"/>
                  </a:lnTo>
                  <a:lnTo>
                    <a:pt x="3406" y="10319"/>
                  </a:lnTo>
                  <a:lnTo>
                    <a:pt x="3919" y="9363"/>
                  </a:lnTo>
                  <a:lnTo>
                    <a:pt x="3685" y="8722"/>
                  </a:lnTo>
                  <a:lnTo>
                    <a:pt x="4422" y="8213"/>
                  </a:lnTo>
                  <a:lnTo>
                    <a:pt x="3506" y="7764"/>
                  </a:lnTo>
                  <a:lnTo>
                    <a:pt x="4519" y="7163"/>
                  </a:lnTo>
                  <a:lnTo>
                    <a:pt x="3886" y="6119"/>
                  </a:lnTo>
                  <a:lnTo>
                    <a:pt x="4556" y="4636"/>
                  </a:lnTo>
                  <a:lnTo>
                    <a:pt x="5535" y="2993"/>
                  </a:lnTo>
                  <a:lnTo>
                    <a:pt x="7762" y="1893"/>
                  </a:lnTo>
                  <a:lnTo>
                    <a:pt x="7762" y="1190"/>
                  </a:lnTo>
                  <a:lnTo>
                    <a:pt x="9564" y="29"/>
                  </a:lnTo>
                  <a:cubicBezTo>
                    <a:pt x="11452" y="56"/>
                    <a:pt x="13341" y="68"/>
                    <a:pt x="15230" y="63"/>
                  </a:cubicBezTo>
                  <a:cubicBezTo>
                    <a:pt x="17119" y="58"/>
                    <a:pt x="19007" y="37"/>
                    <a:pt x="20895" y="0"/>
                  </a:cubicBez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1" name="Shape">
              <a:extLst>
                <a:ext uri="{FF2B5EF4-FFF2-40B4-BE49-F238E27FC236}">
                  <a16:creationId xmlns:a16="http://schemas.microsoft.com/office/drawing/2014/main" id="{5C255F67-52F6-4ECE-ADE0-87B1F5346703}"/>
                </a:ext>
              </a:extLst>
            </p:cNvPr>
            <p:cNvSpPr/>
            <p:nvPr/>
          </p:nvSpPr>
          <p:spPr>
            <a:xfrm>
              <a:off x="11542914" y="6628185"/>
              <a:ext cx="1244000" cy="203381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52" y="17447"/>
                  </a:moveTo>
                  <a:lnTo>
                    <a:pt x="2477" y="18141"/>
                  </a:lnTo>
                  <a:lnTo>
                    <a:pt x="3041" y="19146"/>
                  </a:lnTo>
                  <a:lnTo>
                    <a:pt x="2892" y="19891"/>
                  </a:lnTo>
                  <a:lnTo>
                    <a:pt x="2905" y="20725"/>
                  </a:lnTo>
                  <a:lnTo>
                    <a:pt x="1538" y="20904"/>
                  </a:lnTo>
                  <a:lnTo>
                    <a:pt x="546" y="20873"/>
                  </a:lnTo>
                  <a:lnTo>
                    <a:pt x="433" y="1331"/>
                  </a:lnTo>
                  <a:lnTo>
                    <a:pt x="0" y="403"/>
                  </a:lnTo>
                  <a:cubicBezTo>
                    <a:pt x="2794" y="392"/>
                    <a:pt x="5588" y="352"/>
                    <a:pt x="8380" y="282"/>
                  </a:cubicBezTo>
                  <a:cubicBezTo>
                    <a:pt x="11033" y="215"/>
                    <a:pt x="13685" y="121"/>
                    <a:pt x="16334" y="0"/>
                  </a:cubicBezTo>
                  <a:lnTo>
                    <a:pt x="19170" y="8319"/>
                  </a:lnTo>
                  <a:lnTo>
                    <a:pt x="21570" y="10987"/>
                  </a:lnTo>
                  <a:lnTo>
                    <a:pt x="21600" y="11608"/>
                  </a:lnTo>
                  <a:lnTo>
                    <a:pt x="20523" y="12446"/>
                  </a:lnTo>
                  <a:lnTo>
                    <a:pt x="20570" y="13949"/>
                  </a:lnTo>
                  <a:lnTo>
                    <a:pt x="20871" y="14734"/>
                  </a:lnTo>
                  <a:lnTo>
                    <a:pt x="20553" y="15570"/>
                  </a:lnTo>
                  <a:lnTo>
                    <a:pt x="21471" y="17376"/>
                  </a:lnTo>
                  <a:lnTo>
                    <a:pt x="6684" y="17997"/>
                  </a:lnTo>
                  <a:lnTo>
                    <a:pt x="7085" y="20041"/>
                  </a:lnTo>
                  <a:lnTo>
                    <a:pt x="6039" y="20334"/>
                  </a:lnTo>
                  <a:lnTo>
                    <a:pt x="7028" y="20760"/>
                  </a:lnTo>
                  <a:lnTo>
                    <a:pt x="5826" y="21105"/>
                  </a:lnTo>
                  <a:lnTo>
                    <a:pt x="3400" y="21600"/>
                  </a:lnTo>
                  <a:lnTo>
                    <a:pt x="3832" y="20948"/>
                  </a:lnTo>
                  <a:lnTo>
                    <a:pt x="4774" y="20258"/>
                  </a:lnTo>
                  <a:lnTo>
                    <a:pt x="4298" y="19802"/>
                  </a:lnTo>
                  <a:lnTo>
                    <a:pt x="3680" y="18326"/>
                  </a:lnTo>
                  <a:lnTo>
                    <a:pt x="3152" y="17447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2" name="Shape">
              <a:extLst>
                <a:ext uri="{FF2B5EF4-FFF2-40B4-BE49-F238E27FC236}">
                  <a16:creationId xmlns:a16="http://schemas.microsoft.com/office/drawing/2014/main" id="{CEC9D34E-7ADE-46A5-8244-C230793ADC6E}"/>
                </a:ext>
              </a:extLst>
            </p:cNvPr>
            <p:cNvSpPr/>
            <p:nvPr/>
          </p:nvSpPr>
          <p:spPr>
            <a:xfrm>
              <a:off x="1345016" y="7767659"/>
              <a:ext cx="3982968" cy="30368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579" y="3158"/>
                  </a:moveTo>
                  <a:lnTo>
                    <a:pt x="16380" y="2764"/>
                  </a:lnTo>
                  <a:lnTo>
                    <a:pt x="15909" y="2665"/>
                  </a:lnTo>
                  <a:lnTo>
                    <a:pt x="15978" y="2201"/>
                  </a:lnTo>
                  <a:lnTo>
                    <a:pt x="15711" y="2353"/>
                  </a:lnTo>
                  <a:lnTo>
                    <a:pt x="15310" y="2660"/>
                  </a:lnTo>
                  <a:lnTo>
                    <a:pt x="14975" y="2505"/>
                  </a:lnTo>
                  <a:lnTo>
                    <a:pt x="14561" y="2450"/>
                  </a:lnTo>
                  <a:lnTo>
                    <a:pt x="14358" y="2174"/>
                  </a:lnTo>
                  <a:lnTo>
                    <a:pt x="14189" y="1952"/>
                  </a:lnTo>
                  <a:lnTo>
                    <a:pt x="13807" y="1538"/>
                  </a:lnTo>
                  <a:lnTo>
                    <a:pt x="13664" y="1816"/>
                  </a:lnTo>
                  <a:lnTo>
                    <a:pt x="13417" y="1650"/>
                  </a:lnTo>
                  <a:lnTo>
                    <a:pt x="13129" y="1650"/>
                  </a:lnTo>
                  <a:lnTo>
                    <a:pt x="13089" y="1119"/>
                  </a:lnTo>
                  <a:lnTo>
                    <a:pt x="12699" y="1043"/>
                  </a:lnTo>
                  <a:lnTo>
                    <a:pt x="12369" y="870"/>
                  </a:lnTo>
                  <a:lnTo>
                    <a:pt x="12473" y="394"/>
                  </a:lnTo>
                  <a:lnTo>
                    <a:pt x="12078" y="319"/>
                  </a:lnTo>
                  <a:lnTo>
                    <a:pt x="11916" y="0"/>
                  </a:lnTo>
                  <a:lnTo>
                    <a:pt x="11386" y="92"/>
                  </a:lnTo>
                  <a:lnTo>
                    <a:pt x="11074" y="10"/>
                  </a:lnTo>
                  <a:lnTo>
                    <a:pt x="10495" y="441"/>
                  </a:lnTo>
                  <a:lnTo>
                    <a:pt x="9934" y="507"/>
                  </a:lnTo>
                  <a:lnTo>
                    <a:pt x="9502" y="771"/>
                  </a:lnTo>
                  <a:lnTo>
                    <a:pt x="9253" y="1356"/>
                  </a:lnTo>
                  <a:lnTo>
                    <a:pt x="8880" y="1688"/>
                  </a:lnTo>
                  <a:lnTo>
                    <a:pt x="8665" y="1338"/>
                  </a:lnTo>
                  <a:lnTo>
                    <a:pt x="7990" y="1338"/>
                  </a:lnTo>
                  <a:lnTo>
                    <a:pt x="7813" y="1897"/>
                  </a:lnTo>
                  <a:lnTo>
                    <a:pt x="7941" y="2227"/>
                  </a:lnTo>
                  <a:lnTo>
                    <a:pt x="8192" y="2545"/>
                  </a:lnTo>
                  <a:lnTo>
                    <a:pt x="8335" y="3187"/>
                  </a:lnTo>
                  <a:lnTo>
                    <a:pt x="8335" y="3864"/>
                  </a:lnTo>
                  <a:lnTo>
                    <a:pt x="8763" y="4062"/>
                  </a:lnTo>
                  <a:cubicBezTo>
                    <a:pt x="8825" y="4095"/>
                    <a:pt x="8886" y="4128"/>
                    <a:pt x="8947" y="4161"/>
                  </a:cubicBezTo>
                  <a:cubicBezTo>
                    <a:pt x="9009" y="4195"/>
                    <a:pt x="9070" y="4228"/>
                    <a:pt x="9131" y="4261"/>
                  </a:cubicBezTo>
                  <a:lnTo>
                    <a:pt x="8579" y="4318"/>
                  </a:lnTo>
                  <a:lnTo>
                    <a:pt x="8537" y="4889"/>
                  </a:lnTo>
                  <a:lnTo>
                    <a:pt x="8988" y="4891"/>
                  </a:lnTo>
                  <a:lnTo>
                    <a:pt x="8937" y="5309"/>
                  </a:lnTo>
                  <a:lnTo>
                    <a:pt x="8837" y="5637"/>
                  </a:lnTo>
                  <a:lnTo>
                    <a:pt x="8507" y="5283"/>
                  </a:lnTo>
                  <a:lnTo>
                    <a:pt x="8053" y="4719"/>
                  </a:lnTo>
                  <a:lnTo>
                    <a:pt x="8147" y="4202"/>
                  </a:lnTo>
                  <a:lnTo>
                    <a:pt x="7702" y="4003"/>
                  </a:lnTo>
                  <a:lnTo>
                    <a:pt x="6940" y="4101"/>
                  </a:lnTo>
                  <a:lnTo>
                    <a:pt x="6444" y="4067"/>
                  </a:lnTo>
                  <a:lnTo>
                    <a:pt x="6101" y="4132"/>
                  </a:lnTo>
                  <a:lnTo>
                    <a:pt x="6126" y="4560"/>
                  </a:lnTo>
                  <a:lnTo>
                    <a:pt x="6591" y="4914"/>
                  </a:lnTo>
                  <a:lnTo>
                    <a:pt x="6876" y="5201"/>
                  </a:lnTo>
                  <a:lnTo>
                    <a:pt x="6180" y="5057"/>
                  </a:lnTo>
                  <a:lnTo>
                    <a:pt x="6254" y="5586"/>
                  </a:lnTo>
                  <a:lnTo>
                    <a:pt x="6359" y="6137"/>
                  </a:lnTo>
                  <a:lnTo>
                    <a:pt x="6839" y="6502"/>
                  </a:lnTo>
                  <a:lnTo>
                    <a:pt x="7319" y="6404"/>
                  </a:lnTo>
                  <a:lnTo>
                    <a:pt x="7495" y="6831"/>
                  </a:lnTo>
                  <a:lnTo>
                    <a:pt x="7740" y="7040"/>
                  </a:lnTo>
                  <a:lnTo>
                    <a:pt x="7934" y="6590"/>
                  </a:lnTo>
                  <a:lnTo>
                    <a:pt x="8128" y="6358"/>
                  </a:lnTo>
                  <a:lnTo>
                    <a:pt x="8409" y="6326"/>
                  </a:lnTo>
                  <a:lnTo>
                    <a:pt x="8200" y="6899"/>
                  </a:lnTo>
                  <a:lnTo>
                    <a:pt x="8185" y="7547"/>
                  </a:lnTo>
                  <a:lnTo>
                    <a:pt x="7889" y="8079"/>
                  </a:lnTo>
                  <a:lnTo>
                    <a:pt x="7080" y="8178"/>
                  </a:lnTo>
                  <a:lnTo>
                    <a:pt x="6696" y="8432"/>
                  </a:lnTo>
                  <a:lnTo>
                    <a:pt x="6796" y="8995"/>
                  </a:lnTo>
                  <a:lnTo>
                    <a:pt x="6687" y="9488"/>
                  </a:lnTo>
                  <a:lnTo>
                    <a:pt x="6300" y="8957"/>
                  </a:lnTo>
                  <a:lnTo>
                    <a:pt x="6316" y="8153"/>
                  </a:lnTo>
                  <a:lnTo>
                    <a:pt x="6058" y="8482"/>
                  </a:lnTo>
                  <a:lnTo>
                    <a:pt x="5543" y="8847"/>
                  </a:lnTo>
                  <a:lnTo>
                    <a:pt x="5190" y="8813"/>
                  </a:lnTo>
                  <a:lnTo>
                    <a:pt x="4985" y="9232"/>
                  </a:lnTo>
                  <a:lnTo>
                    <a:pt x="5204" y="9707"/>
                  </a:lnTo>
                  <a:lnTo>
                    <a:pt x="5455" y="10355"/>
                  </a:lnTo>
                  <a:lnTo>
                    <a:pt x="5245" y="10936"/>
                  </a:lnTo>
                  <a:lnTo>
                    <a:pt x="4885" y="10773"/>
                  </a:lnTo>
                  <a:lnTo>
                    <a:pt x="4636" y="10750"/>
                  </a:lnTo>
                  <a:lnTo>
                    <a:pt x="4317" y="10554"/>
                  </a:lnTo>
                  <a:lnTo>
                    <a:pt x="3968" y="10818"/>
                  </a:lnTo>
                  <a:lnTo>
                    <a:pt x="4221" y="11183"/>
                  </a:lnTo>
                  <a:lnTo>
                    <a:pt x="4652" y="11413"/>
                  </a:lnTo>
                  <a:lnTo>
                    <a:pt x="5047" y="11226"/>
                  </a:lnTo>
                  <a:lnTo>
                    <a:pt x="5439" y="11194"/>
                  </a:lnTo>
                  <a:lnTo>
                    <a:pt x="5289" y="11645"/>
                  </a:lnTo>
                  <a:lnTo>
                    <a:pt x="5727" y="12284"/>
                  </a:lnTo>
                  <a:lnTo>
                    <a:pt x="6154" y="12118"/>
                  </a:lnTo>
                  <a:lnTo>
                    <a:pt x="6111" y="12600"/>
                  </a:lnTo>
                  <a:lnTo>
                    <a:pt x="5834" y="13008"/>
                  </a:lnTo>
                  <a:lnTo>
                    <a:pt x="5608" y="13677"/>
                  </a:lnTo>
                  <a:lnTo>
                    <a:pt x="5987" y="13840"/>
                  </a:lnTo>
                  <a:lnTo>
                    <a:pt x="6170" y="13615"/>
                  </a:lnTo>
                  <a:lnTo>
                    <a:pt x="6727" y="13783"/>
                  </a:lnTo>
                  <a:lnTo>
                    <a:pt x="6845" y="14256"/>
                  </a:lnTo>
                  <a:lnTo>
                    <a:pt x="6988" y="14862"/>
                  </a:lnTo>
                  <a:lnTo>
                    <a:pt x="7492" y="14729"/>
                  </a:lnTo>
                  <a:lnTo>
                    <a:pt x="7610" y="14079"/>
                  </a:lnTo>
                  <a:lnTo>
                    <a:pt x="7979" y="14210"/>
                  </a:lnTo>
                  <a:lnTo>
                    <a:pt x="8238" y="14516"/>
                  </a:lnTo>
                  <a:lnTo>
                    <a:pt x="7860" y="15014"/>
                  </a:lnTo>
                  <a:lnTo>
                    <a:pt x="7464" y="15366"/>
                  </a:lnTo>
                  <a:lnTo>
                    <a:pt x="7202" y="15709"/>
                  </a:lnTo>
                  <a:lnTo>
                    <a:pt x="7054" y="16200"/>
                  </a:lnTo>
                  <a:lnTo>
                    <a:pt x="6658" y="16233"/>
                  </a:lnTo>
                  <a:lnTo>
                    <a:pt x="6293" y="16649"/>
                  </a:lnTo>
                  <a:lnTo>
                    <a:pt x="5847" y="16616"/>
                  </a:lnTo>
                  <a:lnTo>
                    <a:pt x="5268" y="16966"/>
                  </a:lnTo>
                  <a:lnTo>
                    <a:pt x="4704" y="16998"/>
                  </a:lnTo>
                  <a:lnTo>
                    <a:pt x="4510" y="17194"/>
                  </a:lnTo>
                  <a:lnTo>
                    <a:pt x="4246" y="17379"/>
                  </a:lnTo>
                  <a:lnTo>
                    <a:pt x="4027" y="17215"/>
                  </a:lnTo>
                  <a:lnTo>
                    <a:pt x="3793" y="17324"/>
                  </a:lnTo>
                  <a:lnTo>
                    <a:pt x="3444" y="17302"/>
                  </a:lnTo>
                  <a:lnTo>
                    <a:pt x="3012" y="17389"/>
                  </a:lnTo>
                  <a:lnTo>
                    <a:pt x="2700" y="17693"/>
                  </a:lnTo>
                  <a:cubicBezTo>
                    <a:pt x="2650" y="17710"/>
                    <a:pt x="2601" y="17726"/>
                    <a:pt x="2552" y="17742"/>
                  </a:cubicBezTo>
                  <a:cubicBezTo>
                    <a:pt x="2502" y="17759"/>
                    <a:pt x="2453" y="17775"/>
                    <a:pt x="2404" y="17791"/>
                  </a:cubicBezTo>
                  <a:lnTo>
                    <a:pt x="2013" y="17791"/>
                  </a:lnTo>
                  <a:lnTo>
                    <a:pt x="1733" y="17726"/>
                  </a:lnTo>
                  <a:lnTo>
                    <a:pt x="1312" y="17627"/>
                  </a:lnTo>
                  <a:lnTo>
                    <a:pt x="1385" y="17992"/>
                  </a:lnTo>
                  <a:lnTo>
                    <a:pt x="848" y="18268"/>
                  </a:lnTo>
                  <a:cubicBezTo>
                    <a:pt x="759" y="18253"/>
                    <a:pt x="670" y="18237"/>
                    <a:pt x="580" y="18221"/>
                  </a:cubicBezTo>
                  <a:cubicBezTo>
                    <a:pt x="491" y="18206"/>
                    <a:pt x="402" y="18190"/>
                    <a:pt x="313" y="18174"/>
                  </a:cubicBezTo>
                  <a:lnTo>
                    <a:pt x="0" y="18513"/>
                  </a:lnTo>
                  <a:lnTo>
                    <a:pt x="1148" y="18668"/>
                  </a:lnTo>
                  <a:lnTo>
                    <a:pt x="1717" y="18426"/>
                  </a:lnTo>
                  <a:lnTo>
                    <a:pt x="2587" y="17285"/>
                  </a:lnTo>
                  <a:lnTo>
                    <a:pt x="3657" y="17737"/>
                  </a:lnTo>
                  <a:lnTo>
                    <a:pt x="4137" y="17737"/>
                  </a:lnTo>
                  <a:lnTo>
                    <a:pt x="4642" y="17672"/>
                  </a:lnTo>
                  <a:lnTo>
                    <a:pt x="5484" y="17706"/>
                  </a:lnTo>
                  <a:lnTo>
                    <a:pt x="5744" y="17310"/>
                  </a:lnTo>
                  <a:lnTo>
                    <a:pt x="6304" y="17595"/>
                  </a:lnTo>
                  <a:lnTo>
                    <a:pt x="6592" y="17628"/>
                  </a:lnTo>
                  <a:lnTo>
                    <a:pt x="7019" y="17332"/>
                  </a:lnTo>
                  <a:lnTo>
                    <a:pt x="6971" y="17002"/>
                  </a:lnTo>
                  <a:lnTo>
                    <a:pt x="7419" y="16970"/>
                  </a:lnTo>
                  <a:lnTo>
                    <a:pt x="7747" y="16782"/>
                  </a:lnTo>
                  <a:lnTo>
                    <a:pt x="8159" y="16320"/>
                  </a:lnTo>
                  <a:lnTo>
                    <a:pt x="8258" y="15947"/>
                  </a:lnTo>
                  <a:lnTo>
                    <a:pt x="8729" y="15979"/>
                  </a:lnTo>
                  <a:lnTo>
                    <a:pt x="9291" y="15639"/>
                  </a:lnTo>
                  <a:lnTo>
                    <a:pt x="9788" y="15311"/>
                  </a:lnTo>
                  <a:lnTo>
                    <a:pt x="9619" y="14295"/>
                  </a:lnTo>
                  <a:lnTo>
                    <a:pt x="9922" y="13801"/>
                  </a:lnTo>
                  <a:lnTo>
                    <a:pt x="10362" y="13912"/>
                  </a:lnTo>
                  <a:lnTo>
                    <a:pt x="10756" y="13284"/>
                  </a:lnTo>
                  <a:lnTo>
                    <a:pt x="11143" y="12952"/>
                  </a:lnTo>
                  <a:cubicBezTo>
                    <a:pt x="11226" y="12892"/>
                    <a:pt x="11308" y="12831"/>
                    <a:pt x="11391" y="12770"/>
                  </a:cubicBezTo>
                  <a:cubicBezTo>
                    <a:pt x="11474" y="12709"/>
                    <a:pt x="11557" y="12648"/>
                    <a:pt x="11639" y="12588"/>
                  </a:cubicBezTo>
                  <a:lnTo>
                    <a:pt x="12019" y="12466"/>
                  </a:lnTo>
                  <a:lnTo>
                    <a:pt x="12185" y="12821"/>
                  </a:lnTo>
                  <a:lnTo>
                    <a:pt x="11263" y="13340"/>
                  </a:lnTo>
                  <a:lnTo>
                    <a:pt x="10910" y="13804"/>
                  </a:lnTo>
                  <a:lnTo>
                    <a:pt x="11096" y="14410"/>
                  </a:lnTo>
                  <a:lnTo>
                    <a:pt x="10843" y="14608"/>
                  </a:lnTo>
                  <a:cubicBezTo>
                    <a:pt x="10795" y="14664"/>
                    <a:pt x="10748" y="14720"/>
                    <a:pt x="10700" y="14776"/>
                  </a:cubicBezTo>
                  <a:cubicBezTo>
                    <a:pt x="10653" y="14832"/>
                    <a:pt x="10605" y="14889"/>
                    <a:pt x="10558" y="14945"/>
                  </a:cubicBezTo>
                  <a:lnTo>
                    <a:pt x="11045" y="15011"/>
                  </a:lnTo>
                  <a:lnTo>
                    <a:pt x="11296" y="14845"/>
                  </a:lnTo>
                  <a:lnTo>
                    <a:pt x="11522" y="14480"/>
                  </a:lnTo>
                  <a:lnTo>
                    <a:pt x="11916" y="14316"/>
                  </a:lnTo>
                  <a:lnTo>
                    <a:pt x="12335" y="14216"/>
                  </a:lnTo>
                  <a:lnTo>
                    <a:pt x="12696" y="13952"/>
                  </a:lnTo>
                  <a:lnTo>
                    <a:pt x="12569" y="13522"/>
                  </a:lnTo>
                  <a:lnTo>
                    <a:pt x="12493" y="13203"/>
                  </a:lnTo>
                  <a:lnTo>
                    <a:pt x="12687" y="12983"/>
                  </a:lnTo>
                  <a:lnTo>
                    <a:pt x="12990" y="12929"/>
                  </a:lnTo>
                  <a:lnTo>
                    <a:pt x="13410" y="13084"/>
                  </a:lnTo>
                  <a:lnTo>
                    <a:pt x="13713" y="13215"/>
                  </a:lnTo>
                  <a:lnTo>
                    <a:pt x="13881" y="13644"/>
                  </a:lnTo>
                  <a:lnTo>
                    <a:pt x="13815" y="13952"/>
                  </a:lnTo>
                  <a:lnTo>
                    <a:pt x="14091" y="14240"/>
                  </a:lnTo>
                  <a:lnTo>
                    <a:pt x="14487" y="14505"/>
                  </a:lnTo>
                  <a:lnTo>
                    <a:pt x="15017" y="14804"/>
                  </a:lnTo>
                  <a:lnTo>
                    <a:pt x="15522" y="14838"/>
                  </a:lnTo>
                  <a:lnTo>
                    <a:pt x="15859" y="15003"/>
                  </a:lnTo>
                  <a:lnTo>
                    <a:pt x="16314" y="15394"/>
                  </a:lnTo>
                  <a:lnTo>
                    <a:pt x="16972" y="15903"/>
                  </a:lnTo>
                  <a:lnTo>
                    <a:pt x="17617" y="16409"/>
                  </a:lnTo>
                  <a:cubicBezTo>
                    <a:pt x="17675" y="16447"/>
                    <a:pt x="17734" y="16486"/>
                    <a:pt x="17793" y="16524"/>
                  </a:cubicBezTo>
                  <a:cubicBezTo>
                    <a:pt x="17851" y="16562"/>
                    <a:pt x="17910" y="16601"/>
                    <a:pt x="17969" y="16639"/>
                  </a:cubicBezTo>
                  <a:lnTo>
                    <a:pt x="18093" y="17264"/>
                  </a:lnTo>
                  <a:lnTo>
                    <a:pt x="18388" y="16858"/>
                  </a:lnTo>
                  <a:cubicBezTo>
                    <a:pt x="18341" y="16607"/>
                    <a:pt x="18496" y="16370"/>
                    <a:pt x="18692" y="16393"/>
                  </a:cubicBezTo>
                  <a:cubicBezTo>
                    <a:pt x="18900" y="16418"/>
                    <a:pt x="19021" y="16715"/>
                    <a:pt x="18920" y="16956"/>
                  </a:cubicBezTo>
                  <a:lnTo>
                    <a:pt x="18652" y="17176"/>
                  </a:lnTo>
                  <a:lnTo>
                    <a:pt x="18459" y="17340"/>
                  </a:lnTo>
                  <a:lnTo>
                    <a:pt x="18382" y="17979"/>
                  </a:lnTo>
                  <a:lnTo>
                    <a:pt x="18790" y="18411"/>
                  </a:lnTo>
                  <a:lnTo>
                    <a:pt x="18590" y="18775"/>
                  </a:lnTo>
                  <a:lnTo>
                    <a:pt x="18958" y="19240"/>
                  </a:lnTo>
                  <a:lnTo>
                    <a:pt x="19252" y="19295"/>
                  </a:lnTo>
                  <a:lnTo>
                    <a:pt x="19252" y="18821"/>
                  </a:lnTo>
                  <a:lnTo>
                    <a:pt x="19363" y="18456"/>
                  </a:lnTo>
                  <a:lnTo>
                    <a:pt x="19622" y="18590"/>
                  </a:lnTo>
                  <a:lnTo>
                    <a:pt x="19695" y="19128"/>
                  </a:lnTo>
                  <a:lnTo>
                    <a:pt x="19664" y="19718"/>
                  </a:lnTo>
                  <a:lnTo>
                    <a:pt x="19806" y="20111"/>
                  </a:lnTo>
                  <a:lnTo>
                    <a:pt x="19932" y="20696"/>
                  </a:lnTo>
                  <a:lnTo>
                    <a:pt x="19958" y="21600"/>
                  </a:lnTo>
                  <a:lnTo>
                    <a:pt x="20334" y="20903"/>
                  </a:lnTo>
                  <a:lnTo>
                    <a:pt x="20692" y="21254"/>
                  </a:lnTo>
                  <a:lnTo>
                    <a:pt x="21163" y="20967"/>
                  </a:lnTo>
                  <a:lnTo>
                    <a:pt x="21600" y="20768"/>
                  </a:lnTo>
                  <a:lnTo>
                    <a:pt x="21525" y="20063"/>
                  </a:lnTo>
                  <a:lnTo>
                    <a:pt x="21155" y="20009"/>
                  </a:lnTo>
                  <a:lnTo>
                    <a:pt x="20627" y="19976"/>
                  </a:lnTo>
                  <a:lnTo>
                    <a:pt x="21133" y="19528"/>
                  </a:lnTo>
                  <a:lnTo>
                    <a:pt x="20966" y="18970"/>
                  </a:lnTo>
                  <a:lnTo>
                    <a:pt x="20899" y="18406"/>
                  </a:lnTo>
                  <a:lnTo>
                    <a:pt x="20486" y="18210"/>
                  </a:lnTo>
                  <a:lnTo>
                    <a:pt x="19889" y="18090"/>
                  </a:lnTo>
                  <a:lnTo>
                    <a:pt x="19796" y="17219"/>
                  </a:lnTo>
                  <a:lnTo>
                    <a:pt x="19604" y="16699"/>
                  </a:lnTo>
                  <a:lnTo>
                    <a:pt x="19309" y="16092"/>
                  </a:lnTo>
                  <a:lnTo>
                    <a:pt x="19007" y="15717"/>
                  </a:lnTo>
                  <a:lnTo>
                    <a:pt x="18491" y="15368"/>
                  </a:lnTo>
                  <a:lnTo>
                    <a:pt x="18037" y="15522"/>
                  </a:lnTo>
                  <a:lnTo>
                    <a:pt x="17920" y="16093"/>
                  </a:lnTo>
                  <a:lnTo>
                    <a:pt x="17619" y="15994"/>
                  </a:lnTo>
                  <a:lnTo>
                    <a:pt x="17401" y="15182"/>
                  </a:lnTo>
                  <a:lnTo>
                    <a:pt x="17267" y="14763"/>
                  </a:lnTo>
                  <a:lnTo>
                    <a:pt x="16719" y="14882"/>
                  </a:lnTo>
                  <a:lnTo>
                    <a:pt x="16415" y="14652"/>
                  </a:lnTo>
                  <a:lnTo>
                    <a:pt x="15981" y="14587"/>
                  </a:lnTo>
                  <a:lnTo>
                    <a:pt x="16579" y="3158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3" name="Shape">
              <a:extLst>
                <a:ext uri="{FF2B5EF4-FFF2-40B4-BE49-F238E27FC236}">
                  <a16:creationId xmlns:a16="http://schemas.microsoft.com/office/drawing/2014/main" id="{AE8B3A9C-CA95-4383-992C-5E1C2B21B629}"/>
                </a:ext>
              </a:extLst>
            </p:cNvPr>
            <p:cNvSpPr/>
            <p:nvPr/>
          </p:nvSpPr>
          <p:spPr>
            <a:xfrm>
              <a:off x="4886626" y="9054407"/>
              <a:ext cx="101434" cy="12505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2252" y="0"/>
                  </a:moveTo>
                  <a:lnTo>
                    <a:pt x="0" y="6679"/>
                  </a:lnTo>
                  <a:lnTo>
                    <a:pt x="2125" y="19385"/>
                  </a:lnTo>
                  <a:lnTo>
                    <a:pt x="21600" y="21600"/>
                  </a:lnTo>
                  <a:lnTo>
                    <a:pt x="12252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4" name="Shape">
              <a:extLst>
                <a:ext uri="{FF2B5EF4-FFF2-40B4-BE49-F238E27FC236}">
                  <a16:creationId xmlns:a16="http://schemas.microsoft.com/office/drawing/2014/main" id="{323E9855-C384-4667-BE0F-8787066A09D6}"/>
                </a:ext>
              </a:extLst>
            </p:cNvPr>
            <p:cNvSpPr/>
            <p:nvPr/>
          </p:nvSpPr>
          <p:spPr>
            <a:xfrm>
              <a:off x="5108178" y="8951171"/>
              <a:ext cx="214565" cy="23867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124" y="773"/>
                  </a:moveTo>
                  <a:lnTo>
                    <a:pt x="6211" y="0"/>
                  </a:lnTo>
                  <a:lnTo>
                    <a:pt x="0" y="5608"/>
                  </a:lnTo>
                  <a:lnTo>
                    <a:pt x="4085" y="13684"/>
                  </a:lnTo>
                  <a:lnTo>
                    <a:pt x="10213" y="21600"/>
                  </a:lnTo>
                  <a:lnTo>
                    <a:pt x="17845" y="18679"/>
                  </a:lnTo>
                  <a:lnTo>
                    <a:pt x="18784" y="9691"/>
                  </a:lnTo>
                  <a:lnTo>
                    <a:pt x="21600" y="3957"/>
                  </a:lnTo>
                  <a:lnTo>
                    <a:pt x="14124" y="773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5" name="Shape">
              <a:extLst>
                <a:ext uri="{FF2B5EF4-FFF2-40B4-BE49-F238E27FC236}">
                  <a16:creationId xmlns:a16="http://schemas.microsoft.com/office/drawing/2014/main" id="{41937585-5029-4512-B8C8-115A1B69A98F}"/>
                </a:ext>
              </a:extLst>
            </p:cNvPr>
            <p:cNvSpPr/>
            <p:nvPr/>
          </p:nvSpPr>
          <p:spPr>
            <a:xfrm>
              <a:off x="5736679" y="9189366"/>
              <a:ext cx="284431" cy="2306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036" y="0"/>
                  </a:moveTo>
                  <a:lnTo>
                    <a:pt x="3949" y="7352"/>
                  </a:lnTo>
                  <a:lnTo>
                    <a:pt x="0" y="9182"/>
                  </a:lnTo>
                  <a:lnTo>
                    <a:pt x="4112" y="15083"/>
                  </a:lnTo>
                  <a:lnTo>
                    <a:pt x="7016" y="19433"/>
                  </a:lnTo>
                  <a:lnTo>
                    <a:pt x="11945" y="21600"/>
                  </a:lnTo>
                  <a:lnTo>
                    <a:pt x="17850" y="20744"/>
                  </a:lnTo>
                  <a:lnTo>
                    <a:pt x="21600" y="15665"/>
                  </a:lnTo>
                  <a:lnTo>
                    <a:pt x="19489" y="11914"/>
                  </a:lnTo>
                  <a:lnTo>
                    <a:pt x="13983" y="8017"/>
                  </a:lnTo>
                  <a:lnTo>
                    <a:pt x="11990" y="2392"/>
                  </a:lnTo>
                  <a:lnTo>
                    <a:pt x="8036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6" name="Shape">
              <a:extLst>
                <a:ext uri="{FF2B5EF4-FFF2-40B4-BE49-F238E27FC236}">
                  <a16:creationId xmlns:a16="http://schemas.microsoft.com/office/drawing/2014/main" id="{7672925C-8F8C-4DE6-8C68-D3E3D8116C67}"/>
                </a:ext>
              </a:extLst>
            </p:cNvPr>
            <p:cNvSpPr/>
            <p:nvPr/>
          </p:nvSpPr>
          <p:spPr>
            <a:xfrm>
              <a:off x="6111599" y="9438213"/>
              <a:ext cx="358364" cy="10908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30" h="19565" extrusionOk="0">
                  <a:moveTo>
                    <a:pt x="12959" y="6242"/>
                  </a:moveTo>
                  <a:lnTo>
                    <a:pt x="9026" y="5474"/>
                  </a:lnTo>
                  <a:lnTo>
                    <a:pt x="4789" y="2248"/>
                  </a:lnTo>
                  <a:lnTo>
                    <a:pt x="0" y="8759"/>
                  </a:lnTo>
                  <a:lnTo>
                    <a:pt x="3804" y="14579"/>
                  </a:lnTo>
                  <a:lnTo>
                    <a:pt x="11183" y="17089"/>
                  </a:lnTo>
                  <a:lnTo>
                    <a:pt x="15302" y="19565"/>
                  </a:lnTo>
                  <a:lnTo>
                    <a:pt x="18796" y="13184"/>
                  </a:lnTo>
                  <a:cubicBezTo>
                    <a:pt x="20281" y="14141"/>
                    <a:pt x="21600" y="10167"/>
                    <a:pt x="21283" y="5691"/>
                  </a:cubicBezTo>
                  <a:cubicBezTo>
                    <a:pt x="20777" y="-1457"/>
                    <a:pt x="17466" y="-2035"/>
                    <a:pt x="16690" y="4888"/>
                  </a:cubicBezTo>
                  <a:lnTo>
                    <a:pt x="12959" y="6242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7" name="Shape">
              <a:extLst>
                <a:ext uri="{FF2B5EF4-FFF2-40B4-BE49-F238E27FC236}">
                  <a16:creationId xmlns:a16="http://schemas.microsoft.com/office/drawing/2014/main" id="{B504BF67-7461-4F2A-8641-643C2EA3A956}"/>
                </a:ext>
              </a:extLst>
            </p:cNvPr>
            <p:cNvSpPr/>
            <p:nvPr/>
          </p:nvSpPr>
          <p:spPr>
            <a:xfrm>
              <a:off x="6444381" y="9543602"/>
              <a:ext cx="284867" cy="2116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11" y="4019"/>
                  </a:moveTo>
                  <a:lnTo>
                    <a:pt x="5336" y="2613"/>
                  </a:lnTo>
                  <a:lnTo>
                    <a:pt x="91" y="0"/>
                  </a:lnTo>
                  <a:lnTo>
                    <a:pt x="0" y="5744"/>
                  </a:lnTo>
                  <a:lnTo>
                    <a:pt x="3162" y="8899"/>
                  </a:lnTo>
                  <a:lnTo>
                    <a:pt x="6655" y="12174"/>
                  </a:lnTo>
                  <a:lnTo>
                    <a:pt x="9427" y="18286"/>
                  </a:lnTo>
                  <a:lnTo>
                    <a:pt x="12213" y="21600"/>
                  </a:lnTo>
                  <a:lnTo>
                    <a:pt x="18092" y="20171"/>
                  </a:lnTo>
                  <a:lnTo>
                    <a:pt x="21600" y="15092"/>
                  </a:lnTo>
                  <a:lnTo>
                    <a:pt x="10811" y="4019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8" name="Shape">
              <a:extLst>
                <a:ext uri="{FF2B5EF4-FFF2-40B4-BE49-F238E27FC236}">
                  <a16:creationId xmlns:a16="http://schemas.microsoft.com/office/drawing/2014/main" id="{0BF745F9-CC81-4CFC-AE23-8712C1C56CBD}"/>
                </a:ext>
              </a:extLst>
            </p:cNvPr>
            <p:cNvSpPr/>
            <p:nvPr/>
          </p:nvSpPr>
          <p:spPr>
            <a:xfrm>
              <a:off x="6292689" y="9573695"/>
              <a:ext cx="131233" cy="1298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4269" y="4594"/>
                  </a:moveTo>
                  <a:lnTo>
                    <a:pt x="2240" y="0"/>
                  </a:lnTo>
                  <a:lnTo>
                    <a:pt x="0" y="10734"/>
                  </a:lnTo>
                  <a:lnTo>
                    <a:pt x="12481" y="21600"/>
                  </a:lnTo>
                  <a:lnTo>
                    <a:pt x="21600" y="17006"/>
                  </a:lnTo>
                  <a:lnTo>
                    <a:pt x="14269" y="4594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19" name="Shape">
              <a:extLst>
                <a:ext uri="{FF2B5EF4-FFF2-40B4-BE49-F238E27FC236}">
                  <a16:creationId xmlns:a16="http://schemas.microsoft.com/office/drawing/2014/main" id="{35511799-5FE3-40CD-8C56-392713C31E64}"/>
                </a:ext>
              </a:extLst>
            </p:cNvPr>
            <p:cNvSpPr/>
            <p:nvPr/>
          </p:nvSpPr>
          <p:spPr>
            <a:xfrm>
              <a:off x="6435776" y="9737036"/>
              <a:ext cx="86082" cy="942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361" y="0"/>
                  </a:moveTo>
                  <a:lnTo>
                    <a:pt x="0" y="15945"/>
                  </a:lnTo>
                  <a:lnTo>
                    <a:pt x="18834" y="21600"/>
                  </a:lnTo>
                  <a:lnTo>
                    <a:pt x="21600" y="3693"/>
                  </a:lnTo>
                  <a:lnTo>
                    <a:pt x="7361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0" name="Shape">
              <a:extLst>
                <a:ext uri="{FF2B5EF4-FFF2-40B4-BE49-F238E27FC236}">
                  <a16:creationId xmlns:a16="http://schemas.microsoft.com/office/drawing/2014/main" id="{2A82A499-E71B-41B4-B92F-E8C5A14CC16C}"/>
                </a:ext>
              </a:extLst>
            </p:cNvPr>
            <p:cNvSpPr/>
            <p:nvPr/>
          </p:nvSpPr>
          <p:spPr>
            <a:xfrm>
              <a:off x="6703519" y="9899242"/>
              <a:ext cx="589093" cy="6533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683" y="0"/>
                  </a:moveTo>
                  <a:lnTo>
                    <a:pt x="3241" y="2088"/>
                  </a:lnTo>
                  <a:lnTo>
                    <a:pt x="4733" y="5464"/>
                  </a:lnTo>
                  <a:lnTo>
                    <a:pt x="2353" y="6845"/>
                  </a:lnTo>
                  <a:lnTo>
                    <a:pt x="0" y="7244"/>
                  </a:lnTo>
                  <a:lnTo>
                    <a:pt x="933" y="10271"/>
                  </a:lnTo>
                  <a:lnTo>
                    <a:pt x="2871" y="13812"/>
                  </a:lnTo>
                  <a:lnTo>
                    <a:pt x="3477" y="16118"/>
                  </a:lnTo>
                  <a:lnTo>
                    <a:pt x="3135" y="18734"/>
                  </a:lnTo>
                  <a:lnTo>
                    <a:pt x="5401" y="19659"/>
                  </a:lnTo>
                  <a:lnTo>
                    <a:pt x="6242" y="21600"/>
                  </a:lnTo>
                  <a:lnTo>
                    <a:pt x="8965" y="21292"/>
                  </a:lnTo>
                  <a:lnTo>
                    <a:pt x="10611" y="18214"/>
                  </a:lnTo>
                  <a:lnTo>
                    <a:pt x="14018" y="16363"/>
                  </a:lnTo>
                  <a:lnTo>
                    <a:pt x="16711" y="16208"/>
                  </a:lnTo>
                  <a:lnTo>
                    <a:pt x="20296" y="15078"/>
                  </a:lnTo>
                  <a:lnTo>
                    <a:pt x="21600" y="13638"/>
                  </a:lnTo>
                  <a:lnTo>
                    <a:pt x="21094" y="12006"/>
                  </a:lnTo>
                  <a:lnTo>
                    <a:pt x="19220" y="10779"/>
                  </a:lnTo>
                  <a:lnTo>
                    <a:pt x="16939" y="7231"/>
                  </a:lnTo>
                  <a:lnTo>
                    <a:pt x="14902" y="5233"/>
                  </a:lnTo>
                  <a:lnTo>
                    <a:pt x="13319" y="4519"/>
                  </a:lnTo>
                  <a:lnTo>
                    <a:pt x="11680" y="3137"/>
                  </a:lnTo>
                  <a:lnTo>
                    <a:pt x="10269" y="2110"/>
                  </a:lnTo>
                  <a:lnTo>
                    <a:pt x="7753" y="2110"/>
                  </a:lnTo>
                  <a:lnTo>
                    <a:pt x="6285" y="85"/>
                  </a:lnTo>
                  <a:lnTo>
                    <a:pt x="3683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1" name="Shape">
              <a:extLst>
                <a:ext uri="{FF2B5EF4-FFF2-40B4-BE49-F238E27FC236}">
                  <a16:creationId xmlns:a16="http://schemas.microsoft.com/office/drawing/2014/main" id="{1D79F9FE-B7F8-48E7-8D31-D388B713D7E0}"/>
                </a:ext>
              </a:extLst>
            </p:cNvPr>
            <p:cNvSpPr/>
            <p:nvPr/>
          </p:nvSpPr>
          <p:spPr>
            <a:xfrm>
              <a:off x="2893302" y="9962301"/>
              <a:ext cx="375114" cy="3175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738" y="0"/>
                  </a:moveTo>
                  <a:lnTo>
                    <a:pt x="13452" y="3174"/>
                  </a:lnTo>
                  <a:lnTo>
                    <a:pt x="9660" y="5417"/>
                  </a:lnTo>
                  <a:lnTo>
                    <a:pt x="3225" y="8273"/>
                  </a:lnTo>
                  <a:lnTo>
                    <a:pt x="2944" y="13244"/>
                  </a:lnTo>
                  <a:lnTo>
                    <a:pt x="6318" y="16735"/>
                  </a:lnTo>
                  <a:lnTo>
                    <a:pt x="1684" y="18216"/>
                  </a:lnTo>
                  <a:cubicBezTo>
                    <a:pt x="1404" y="18780"/>
                    <a:pt x="1123" y="19344"/>
                    <a:pt x="842" y="19908"/>
                  </a:cubicBezTo>
                  <a:cubicBezTo>
                    <a:pt x="561" y="20472"/>
                    <a:pt x="281" y="21036"/>
                    <a:pt x="0" y="21600"/>
                  </a:cubicBezTo>
                  <a:lnTo>
                    <a:pt x="5853" y="21283"/>
                  </a:lnTo>
                  <a:lnTo>
                    <a:pt x="8516" y="19710"/>
                  </a:lnTo>
                  <a:lnTo>
                    <a:pt x="12300" y="13746"/>
                  </a:lnTo>
                  <a:lnTo>
                    <a:pt x="15344" y="11233"/>
                  </a:lnTo>
                  <a:lnTo>
                    <a:pt x="21600" y="9330"/>
                  </a:lnTo>
                  <a:lnTo>
                    <a:pt x="17693" y="6804"/>
                  </a:lnTo>
                  <a:lnTo>
                    <a:pt x="20021" y="2955"/>
                  </a:lnTo>
                  <a:lnTo>
                    <a:pt x="17738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2" name="Shape">
              <a:extLst>
                <a:ext uri="{FF2B5EF4-FFF2-40B4-BE49-F238E27FC236}">
                  <a16:creationId xmlns:a16="http://schemas.microsoft.com/office/drawing/2014/main" id="{6F92B3AF-EC1F-4D56-902F-19C920C073AA}"/>
                </a:ext>
              </a:extLst>
            </p:cNvPr>
            <p:cNvSpPr/>
            <p:nvPr/>
          </p:nvSpPr>
          <p:spPr>
            <a:xfrm>
              <a:off x="1534020" y="9512187"/>
              <a:ext cx="114689" cy="9365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0"/>
                  </a:moveTo>
                  <a:lnTo>
                    <a:pt x="8533" y="1032"/>
                  </a:lnTo>
                  <a:lnTo>
                    <a:pt x="0" y="21600"/>
                  </a:lnTo>
                  <a:lnTo>
                    <a:pt x="17000" y="20415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3" name="Shape">
              <a:extLst>
                <a:ext uri="{FF2B5EF4-FFF2-40B4-BE49-F238E27FC236}">
                  <a16:creationId xmlns:a16="http://schemas.microsoft.com/office/drawing/2014/main" id="{3B8A17FD-EE2B-4E71-AC4F-8BC2C502806D}"/>
                </a:ext>
              </a:extLst>
            </p:cNvPr>
            <p:cNvSpPr/>
            <p:nvPr/>
          </p:nvSpPr>
          <p:spPr>
            <a:xfrm>
              <a:off x="2021435" y="8508220"/>
              <a:ext cx="201340" cy="2556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723" y="0"/>
                  </a:moveTo>
                  <a:lnTo>
                    <a:pt x="3326" y="2981"/>
                  </a:lnTo>
                  <a:lnTo>
                    <a:pt x="0" y="6656"/>
                  </a:lnTo>
                  <a:lnTo>
                    <a:pt x="7004" y="9151"/>
                  </a:lnTo>
                  <a:lnTo>
                    <a:pt x="11321" y="15031"/>
                  </a:lnTo>
                  <a:lnTo>
                    <a:pt x="16324" y="21600"/>
                  </a:lnTo>
                  <a:lnTo>
                    <a:pt x="21600" y="20828"/>
                  </a:lnTo>
                  <a:lnTo>
                    <a:pt x="19098" y="10859"/>
                  </a:lnTo>
                  <a:lnTo>
                    <a:pt x="15928" y="7869"/>
                  </a:lnTo>
                  <a:lnTo>
                    <a:pt x="8485" y="5144"/>
                  </a:lnTo>
                  <a:lnTo>
                    <a:pt x="7723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4" name="Shape">
              <a:extLst>
                <a:ext uri="{FF2B5EF4-FFF2-40B4-BE49-F238E27FC236}">
                  <a16:creationId xmlns:a16="http://schemas.microsoft.com/office/drawing/2014/main" id="{06C7E2D9-DF45-4519-B3FD-12149F8944FF}"/>
                </a:ext>
              </a:extLst>
            </p:cNvPr>
            <p:cNvSpPr/>
            <p:nvPr/>
          </p:nvSpPr>
          <p:spPr>
            <a:xfrm>
              <a:off x="1640459" y="8849111"/>
              <a:ext cx="107886" cy="1982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177" y="0"/>
                  </a:moveTo>
                  <a:lnTo>
                    <a:pt x="0" y="10760"/>
                  </a:lnTo>
                  <a:lnTo>
                    <a:pt x="7667" y="14695"/>
                  </a:lnTo>
                  <a:lnTo>
                    <a:pt x="11365" y="21600"/>
                  </a:lnTo>
                  <a:lnTo>
                    <a:pt x="21600" y="20604"/>
                  </a:lnTo>
                  <a:lnTo>
                    <a:pt x="20666" y="14018"/>
                  </a:lnTo>
                  <a:lnTo>
                    <a:pt x="10081" y="8979"/>
                  </a:lnTo>
                  <a:lnTo>
                    <a:pt x="5177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5" name="Triangle">
              <a:extLst>
                <a:ext uri="{FF2B5EF4-FFF2-40B4-BE49-F238E27FC236}">
                  <a16:creationId xmlns:a16="http://schemas.microsoft.com/office/drawing/2014/main" id="{4EE9530A-6134-4BAE-8F63-468FC77D6624}"/>
                </a:ext>
              </a:extLst>
            </p:cNvPr>
            <p:cNvSpPr/>
            <p:nvPr/>
          </p:nvSpPr>
          <p:spPr>
            <a:xfrm>
              <a:off x="1555670" y="9702560"/>
              <a:ext cx="88537" cy="457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9148" y="0"/>
                  </a:moveTo>
                  <a:lnTo>
                    <a:pt x="0" y="19739"/>
                  </a:lnTo>
                  <a:lnTo>
                    <a:pt x="21600" y="21600"/>
                  </a:lnTo>
                  <a:lnTo>
                    <a:pt x="9148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6" name="Shape">
              <a:extLst>
                <a:ext uri="{FF2B5EF4-FFF2-40B4-BE49-F238E27FC236}">
                  <a16:creationId xmlns:a16="http://schemas.microsoft.com/office/drawing/2014/main" id="{1EDAE3F9-F028-4E68-BDF1-4873D7CEEC64}"/>
                </a:ext>
              </a:extLst>
            </p:cNvPr>
            <p:cNvSpPr/>
            <p:nvPr/>
          </p:nvSpPr>
          <p:spPr>
            <a:xfrm>
              <a:off x="681844" y="10200765"/>
              <a:ext cx="198118" cy="1261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529"/>
                  </a:moveTo>
                  <a:lnTo>
                    <a:pt x="2543" y="9682"/>
                  </a:lnTo>
                  <a:cubicBezTo>
                    <a:pt x="4239" y="9167"/>
                    <a:pt x="5936" y="8652"/>
                    <a:pt x="7632" y="8137"/>
                  </a:cubicBezTo>
                  <a:cubicBezTo>
                    <a:pt x="9329" y="7623"/>
                    <a:pt x="11025" y="7108"/>
                    <a:pt x="12721" y="6593"/>
                  </a:cubicBezTo>
                  <a:lnTo>
                    <a:pt x="12721" y="16841"/>
                  </a:lnTo>
                  <a:lnTo>
                    <a:pt x="17404" y="21600"/>
                  </a:lnTo>
                  <a:lnTo>
                    <a:pt x="21600" y="14609"/>
                  </a:lnTo>
                  <a:lnTo>
                    <a:pt x="15622" y="0"/>
                  </a:lnTo>
                  <a:lnTo>
                    <a:pt x="0" y="529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7" name="Shape">
              <a:extLst>
                <a:ext uri="{FF2B5EF4-FFF2-40B4-BE49-F238E27FC236}">
                  <a16:creationId xmlns:a16="http://schemas.microsoft.com/office/drawing/2014/main" id="{DB467F67-A0A8-4CA0-8CE4-D647B86A0403}"/>
                </a:ext>
              </a:extLst>
            </p:cNvPr>
            <p:cNvSpPr/>
            <p:nvPr/>
          </p:nvSpPr>
          <p:spPr>
            <a:xfrm>
              <a:off x="1085651" y="10342136"/>
              <a:ext cx="179382" cy="587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991" y="0"/>
                  </a:moveTo>
                  <a:lnTo>
                    <a:pt x="13008" y="7098"/>
                  </a:lnTo>
                  <a:lnTo>
                    <a:pt x="21600" y="2793"/>
                  </a:lnTo>
                  <a:lnTo>
                    <a:pt x="21600" y="21600"/>
                  </a:lnTo>
                  <a:lnTo>
                    <a:pt x="0" y="5789"/>
                  </a:lnTo>
                  <a:lnTo>
                    <a:pt x="6991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8" name="Triangle">
              <a:extLst>
                <a:ext uri="{FF2B5EF4-FFF2-40B4-BE49-F238E27FC236}">
                  <a16:creationId xmlns:a16="http://schemas.microsoft.com/office/drawing/2014/main" id="{8D101877-8215-4AB5-996F-0FC625154540}"/>
                </a:ext>
              </a:extLst>
            </p:cNvPr>
            <p:cNvSpPr/>
            <p:nvPr/>
          </p:nvSpPr>
          <p:spPr>
            <a:xfrm>
              <a:off x="932475" y="10302545"/>
              <a:ext cx="100344" cy="416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4521" y="21600"/>
                  </a:lnTo>
                  <a:lnTo>
                    <a:pt x="21600" y="7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9" name="Shape">
              <a:extLst>
                <a:ext uri="{FF2B5EF4-FFF2-40B4-BE49-F238E27FC236}">
                  <a16:creationId xmlns:a16="http://schemas.microsoft.com/office/drawing/2014/main" id="{AAD1331A-0941-4D64-8A45-212FB4B4469D}"/>
                </a:ext>
              </a:extLst>
            </p:cNvPr>
            <p:cNvSpPr/>
            <p:nvPr/>
          </p:nvSpPr>
          <p:spPr>
            <a:xfrm>
              <a:off x="382551" y="10021062"/>
              <a:ext cx="255962" cy="1766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736" y="0"/>
                  </a:moveTo>
                  <a:lnTo>
                    <a:pt x="5410" y="8595"/>
                  </a:lnTo>
                  <a:lnTo>
                    <a:pt x="13037" y="10499"/>
                  </a:lnTo>
                  <a:lnTo>
                    <a:pt x="17450" y="11640"/>
                  </a:lnTo>
                  <a:lnTo>
                    <a:pt x="21600" y="15443"/>
                  </a:lnTo>
                  <a:lnTo>
                    <a:pt x="17548" y="21600"/>
                  </a:lnTo>
                  <a:lnTo>
                    <a:pt x="9037" y="16109"/>
                  </a:lnTo>
                  <a:lnTo>
                    <a:pt x="0" y="8574"/>
                  </a:lnTo>
                  <a:lnTo>
                    <a:pt x="736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30" name="Shape">
              <a:extLst>
                <a:ext uri="{FF2B5EF4-FFF2-40B4-BE49-F238E27FC236}">
                  <a16:creationId xmlns:a16="http://schemas.microsoft.com/office/drawing/2014/main" id="{B5E917CF-DABF-4C80-9C09-175EF1AD8EB7}"/>
                </a:ext>
              </a:extLst>
            </p:cNvPr>
            <p:cNvSpPr/>
            <p:nvPr/>
          </p:nvSpPr>
          <p:spPr>
            <a:xfrm>
              <a:off x="120325" y="9846333"/>
              <a:ext cx="51991" cy="1130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58" y="0"/>
                  </a:moveTo>
                  <a:lnTo>
                    <a:pt x="0" y="11365"/>
                  </a:lnTo>
                  <a:lnTo>
                    <a:pt x="15706" y="21600"/>
                  </a:lnTo>
                  <a:lnTo>
                    <a:pt x="21600" y="7452"/>
                  </a:lnTo>
                  <a:lnTo>
                    <a:pt x="1858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31" name="Triangle">
              <a:extLst>
                <a:ext uri="{FF2B5EF4-FFF2-40B4-BE49-F238E27FC236}">
                  <a16:creationId xmlns:a16="http://schemas.microsoft.com/office/drawing/2014/main" id="{DDF8E3C2-FA3B-4763-B182-E182B653D420}"/>
                </a:ext>
              </a:extLst>
            </p:cNvPr>
            <p:cNvSpPr/>
            <p:nvPr/>
          </p:nvSpPr>
          <p:spPr>
            <a:xfrm>
              <a:off x="0" y="9706579"/>
              <a:ext cx="88173" cy="657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2357" y="21600"/>
                  </a:lnTo>
                  <a:lnTo>
                    <a:pt x="21600" y="83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32" name="Triangle">
              <a:extLst>
                <a:ext uri="{FF2B5EF4-FFF2-40B4-BE49-F238E27FC236}">
                  <a16:creationId xmlns:a16="http://schemas.microsoft.com/office/drawing/2014/main" id="{46EE692E-EDFF-4DBE-8D50-2EDA0FC11468}"/>
                </a:ext>
              </a:extLst>
            </p:cNvPr>
            <p:cNvSpPr/>
            <p:nvPr/>
          </p:nvSpPr>
          <p:spPr>
            <a:xfrm>
              <a:off x="220143" y="9868540"/>
              <a:ext cx="58330" cy="590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3384" y="21600"/>
                  </a:lnTo>
                  <a:lnTo>
                    <a:pt x="21600" y="141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33" name="Triangle">
              <a:extLst>
                <a:ext uri="{FF2B5EF4-FFF2-40B4-BE49-F238E27FC236}">
                  <a16:creationId xmlns:a16="http://schemas.microsoft.com/office/drawing/2014/main" id="{88CCC5F9-F57A-4C7E-9CB2-07278274A1A4}"/>
                </a:ext>
              </a:extLst>
            </p:cNvPr>
            <p:cNvSpPr/>
            <p:nvPr/>
          </p:nvSpPr>
          <p:spPr>
            <a:xfrm>
              <a:off x="2762937" y="10301215"/>
              <a:ext cx="92822" cy="629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640" y="0"/>
                  </a:moveTo>
                  <a:lnTo>
                    <a:pt x="0" y="19140"/>
                  </a:lnTo>
                  <a:lnTo>
                    <a:pt x="21600" y="21600"/>
                  </a:lnTo>
                  <a:lnTo>
                    <a:pt x="8640" y="0"/>
                  </a:lnTo>
                  <a:close/>
                </a:path>
              </a:pathLst>
            </a:custGeom>
            <a:solidFill>
              <a:srgbClr val="F6F6F6"/>
            </a:solidFill>
            <a:ln w="12700" cap="flat">
              <a:solidFill>
                <a:srgbClr val="E3E4E4"/>
              </a:solidFill>
              <a:prstDash val="solid"/>
              <a:miter lim="400000"/>
            </a:ln>
            <a:effectLst/>
          </p:spPr>
          <p:txBody>
            <a:bodyPr wrap="square" lIns="22860" tIns="22860" rIns="22860" bIns="22860" numCol="1" anchor="ctr">
              <a:noAutofit/>
            </a:bodyPr>
            <a:lstStyle/>
            <a:p>
              <a:pPr defTabSz="227806"/>
              <a:endParaRPr>
                <a:solidFill>
                  <a:srgbClr val="070707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2DA21E8-0E9A-45B3-B40E-99616357B18D}"/>
              </a:ext>
            </a:extLst>
          </p:cNvPr>
          <p:cNvGrpSpPr/>
          <p:nvPr/>
        </p:nvGrpSpPr>
        <p:grpSpPr>
          <a:xfrm>
            <a:off x="2316845" y="1347614"/>
            <a:ext cx="8219295" cy="4615099"/>
            <a:chOff x="2316845" y="1347614"/>
            <a:chExt cx="8219295" cy="4615099"/>
          </a:xfrm>
        </p:grpSpPr>
        <p:sp>
          <p:nvSpPr>
            <p:cNvPr id="5" name="CO">
              <a:extLst>
                <a:ext uri="{FF2B5EF4-FFF2-40B4-BE49-F238E27FC236}">
                  <a16:creationId xmlns:a16="http://schemas.microsoft.com/office/drawing/2014/main" id="{4A937731-9073-42C7-B582-5EE1928D7F68}"/>
                </a:ext>
              </a:extLst>
            </p:cNvPr>
            <p:cNvSpPr/>
            <p:nvPr/>
          </p:nvSpPr>
          <p:spPr>
            <a:xfrm>
              <a:off x="4564215" y="3303414"/>
              <a:ext cx="19877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CO</a:t>
              </a:r>
            </a:p>
          </p:txBody>
        </p:sp>
        <p:sp>
          <p:nvSpPr>
            <p:cNvPr id="6" name="UT">
              <a:extLst>
                <a:ext uri="{FF2B5EF4-FFF2-40B4-BE49-F238E27FC236}">
                  <a16:creationId xmlns:a16="http://schemas.microsoft.com/office/drawing/2014/main" id="{7D0D04FC-7A3D-4B48-AC8B-866A25B678D2}"/>
                </a:ext>
              </a:extLst>
            </p:cNvPr>
            <p:cNvSpPr/>
            <p:nvPr/>
          </p:nvSpPr>
          <p:spPr>
            <a:xfrm>
              <a:off x="3618910" y="3128154"/>
              <a:ext cx="18915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UT</a:t>
              </a:r>
            </a:p>
          </p:txBody>
        </p:sp>
        <p:sp>
          <p:nvSpPr>
            <p:cNvPr id="7" name="WY">
              <a:extLst>
                <a:ext uri="{FF2B5EF4-FFF2-40B4-BE49-F238E27FC236}">
                  <a16:creationId xmlns:a16="http://schemas.microsoft.com/office/drawing/2014/main" id="{F6449B5B-CA3C-4B52-9F6B-DD3323FB74D6}"/>
                </a:ext>
              </a:extLst>
            </p:cNvPr>
            <p:cNvSpPr/>
            <p:nvPr/>
          </p:nvSpPr>
          <p:spPr>
            <a:xfrm>
              <a:off x="4350459" y="2472834"/>
              <a:ext cx="22602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WY</a:t>
              </a:r>
            </a:p>
          </p:txBody>
        </p:sp>
        <p:sp>
          <p:nvSpPr>
            <p:cNvPr id="8" name="MT">
              <a:extLst>
                <a:ext uri="{FF2B5EF4-FFF2-40B4-BE49-F238E27FC236}">
                  <a16:creationId xmlns:a16="http://schemas.microsoft.com/office/drawing/2014/main" id="{D3C3A86B-5150-401E-88BE-9F407DFCDE64}"/>
                </a:ext>
              </a:extLst>
            </p:cNvPr>
            <p:cNvSpPr/>
            <p:nvPr/>
          </p:nvSpPr>
          <p:spPr>
            <a:xfrm>
              <a:off x="4158487" y="1642254"/>
              <a:ext cx="20518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T</a:t>
              </a:r>
            </a:p>
          </p:txBody>
        </p:sp>
        <p:sp>
          <p:nvSpPr>
            <p:cNvPr id="9" name="ID">
              <a:extLst>
                <a:ext uri="{FF2B5EF4-FFF2-40B4-BE49-F238E27FC236}">
                  <a16:creationId xmlns:a16="http://schemas.microsoft.com/office/drawing/2014/main" id="{0D3F969D-B4A0-4138-B46D-F39740E71799}"/>
                </a:ext>
              </a:extLst>
            </p:cNvPr>
            <p:cNvSpPr/>
            <p:nvPr/>
          </p:nvSpPr>
          <p:spPr>
            <a:xfrm>
              <a:off x="3386710" y="2178194"/>
              <a:ext cx="17793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ID</a:t>
              </a:r>
            </a:p>
          </p:txBody>
        </p:sp>
        <p:sp>
          <p:nvSpPr>
            <p:cNvPr id="10" name="NV">
              <a:extLst>
                <a:ext uri="{FF2B5EF4-FFF2-40B4-BE49-F238E27FC236}">
                  <a16:creationId xmlns:a16="http://schemas.microsoft.com/office/drawing/2014/main" id="{CDAC22E9-7280-448C-88FE-60ADD1917951}"/>
                </a:ext>
              </a:extLst>
            </p:cNvPr>
            <p:cNvSpPr/>
            <p:nvPr/>
          </p:nvSpPr>
          <p:spPr>
            <a:xfrm>
              <a:off x="2896772" y="2897014"/>
              <a:ext cx="19877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V</a:t>
              </a:r>
            </a:p>
          </p:txBody>
        </p:sp>
        <p:sp>
          <p:nvSpPr>
            <p:cNvPr id="11" name="CA">
              <a:extLst>
                <a:ext uri="{FF2B5EF4-FFF2-40B4-BE49-F238E27FC236}">
                  <a16:creationId xmlns:a16="http://schemas.microsoft.com/office/drawing/2014/main" id="{2A63667C-B57D-42EF-B26B-17E9EF6523BB}"/>
                </a:ext>
              </a:extLst>
            </p:cNvPr>
            <p:cNvSpPr/>
            <p:nvPr/>
          </p:nvSpPr>
          <p:spPr>
            <a:xfrm>
              <a:off x="2316845" y="3505730"/>
              <a:ext cx="19075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CA</a:t>
              </a:r>
            </a:p>
          </p:txBody>
        </p:sp>
        <p:sp>
          <p:nvSpPr>
            <p:cNvPr id="12" name="OR">
              <a:extLst>
                <a:ext uri="{FF2B5EF4-FFF2-40B4-BE49-F238E27FC236}">
                  <a16:creationId xmlns:a16="http://schemas.microsoft.com/office/drawing/2014/main" id="{B5B14312-AF22-43C0-B300-2855913D7327}"/>
                </a:ext>
              </a:extLst>
            </p:cNvPr>
            <p:cNvSpPr/>
            <p:nvPr/>
          </p:nvSpPr>
          <p:spPr>
            <a:xfrm>
              <a:off x="2490373" y="1949594"/>
              <a:ext cx="20358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OR</a:t>
              </a:r>
            </a:p>
          </p:txBody>
        </p:sp>
        <p:sp>
          <p:nvSpPr>
            <p:cNvPr id="13" name="WA">
              <a:extLst>
                <a:ext uri="{FF2B5EF4-FFF2-40B4-BE49-F238E27FC236}">
                  <a16:creationId xmlns:a16="http://schemas.microsoft.com/office/drawing/2014/main" id="{451786E0-4184-45E6-9FA5-12BC9AF0C303}"/>
                </a:ext>
              </a:extLst>
            </p:cNvPr>
            <p:cNvSpPr/>
            <p:nvPr/>
          </p:nvSpPr>
          <p:spPr>
            <a:xfrm>
              <a:off x="2792774" y="1347614"/>
              <a:ext cx="227626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WA</a:t>
              </a:r>
            </a:p>
          </p:txBody>
        </p:sp>
        <p:sp>
          <p:nvSpPr>
            <p:cNvPr id="14" name="ND">
              <a:extLst>
                <a:ext uri="{FF2B5EF4-FFF2-40B4-BE49-F238E27FC236}">
                  <a16:creationId xmlns:a16="http://schemas.microsoft.com/office/drawing/2014/main" id="{9CA659C0-5342-4BC1-892D-CF3DF67BBE27}"/>
                </a:ext>
              </a:extLst>
            </p:cNvPr>
            <p:cNvSpPr/>
            <p:nvPr/>
          </p:nvSpPr>
          <p:spPr>
            <a:xfrm>
              <a:off x="5457363" y="1680354"/>
              <a:ext cx="20678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D</a:t>
              </a:r>
            </a:p>
          </p:txBody>
        </p:sp>
        <p:sp>
          <p:nvSpPr>
            <p:cNvPr id="15" name="SD">
              <a:extLst>
                <a:ext uri="{FF2B5EF4-FFF2-40B4-BE49-F238E27FC236}">
                  <a16:creationId xmlns:a16="http://schemas.microsoft.com/office/drawing/2014/main" id="{2976304C-66AF-42B3-81B3-D0F88E210AD8}"/>
                </a:ext>
              </a:extLst>
            </p:cNvPr>
            <p:cNvSpPr/>
            <p:nvPr/>
          </p:nvSpPr>
          <p:spPr>
            <a:xfrm>
              <a:off x="5470588" y="2297574"/>
              <a:ext cx="19396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SD</a:t>
              </a:r>
            </a:p>
          </p:txBody>
        </p:sp>
        <p:sp>
          <p:nvSpPr>
            <p:cNvPr id="16" name="NE">
              <a:extLst>
                <a:ext uri="{FF2B5EF4-FFF2-40B4-BE49-F238E27FC236}">
                  <a16:creationId xmlns:a16="http://schemas.microsoft.com/office/drawing/2014/main" id="{C7C304D3-7EBA-4DBD-AAF9-8E73040E7A79}"/>
                </a:ext>
              </a:extLst>
            </p:cNvPr>
            <p:cNvSpPr/>
            <p:nvPr/>
          </p:nvSpPr>
          <p:spPr>
            <a:xfrm>
              <a:off x="5565640" y="2897014"/>
              <a:ext cx="19236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E</a:t>
              </a:r>
            </a:p>
          </p:txBody>
        </p:sp>
        <p:sp>
          <p:nvSpPr>
            <p:cNvPr id="17" name="KS">
              <a:extLst>
                <a:ext uri="{FF2B5EF4-FFF2-40B4-BE49-F238E27FC236}">
                  <a16:creationId xmlns:a16="http://schemas.microsoft.com/office/drawing/2014/main" id="{1EFDC305-1C65-4F42-A8F3-48F72C030D98}"/>
                </a:ext>
              </a:extLst>
            </p:cNvPr>
            <p:cNvSpPr/>
            <p:nvPr/>
          </p:nvSpPr>
          <p:spPr>
            <a:xfrm>
              <a:off x="5682238" y="3505730"/>
              <a:ext cx="18915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KS</a:t>
              </a:r>
            </a:p>
          </p:txBody>
        </p:sp>
        <p:sp>
          <p:nvSpPr>
            <p:cNvPr id="18" name="OK">
              <a:extLst>
                <a:ext uri="{FF2B5EF4-FFF2-40B4-BE49-F238E27FC236}">
                  <a16:creationId xmlns:a16="http://schemas.microsoft.com/office/drawing/2014/main" id="{E7B3725C-E5CA-4CCC-A208-4FA5DF5D10EB}"/>
                </a:ext>
              </a:extLst>
            </p:cNvPr>
            <p:cNvSpPr/>
            <p:nvPr/>
          </p:nvSpPr>
          <p:spPr>
            <a:xfrm>
              <a:off x="5883335" y="4113674"/>
              <a:ext cx="20197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OK</a:t>
              </a:r>
            </a:p>
          </p:txBody>
        </p:sp>
        <p:sp>
          <p:nvSpPr>
            <p:cNvPr id="19" name="NM">
              <a:extLst>
                <a:ext uri="{FF2B5EF4-FFF2-40B4-BE49-F238E27FC236}">
                  <a16:creationId xmlns:a16="http://schemas.microsoft.com/office/drawing/2014/main" id="{EE1BE58A-0913-4BD2-910F-28BE685368A4}"/>
                </a:ext>
              </a:extLst>
            </p:cNvPr>
            <p:cNvSpPr/>
            <p:nvPr/>
          </p:nvSpPr>
          <p:spPr>
            <a:xfrm>
              <a:off x="4342044" y="4202574"/>
              <a:ext cx="22121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M</a:t>
              </a:r>
            </a:p>
          </p:txBody>
        </p:sp>
        <p:sp>
          <p:nvSpPr>
            <p:cNvPr id="20" name="AZ">
              <a:extLst>
                <a:ext uri="{FF2B5EF4-FFF2-40B4-BE49-F238E27FC236}">
                  <a16:creationId xmlns:a16="http://schemas.microsoft.com/office/drawing/2014/main" id="{B08CD49D-227E-4CE5-A052-D9A59C24254C}"/>
                </a:ext>
              </a:extLst>
            </p:cNvPr>
            <p:cNvSpPr/>
            <p:nvPr/>
          </p:nvSpPr>
          <p:spPr>
            <a:xfrm>
              <a:off x="3485911" y="4113674"/>
              <a:ext cx="18594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AZ</a:t>
              </a:r>
            </a:p>
          </p:txBody>
        </p:sp>
        <p:sp>
          <p:nvSpPr>
            <p:cNvPr id="21" name="AK">
              <a:extLst>
                <a:ext uri="{FF2B5EF4-FFF2-40B4-BE49-F238E27FC236}">
                  <a16:creationId xmlns:a16="http://schemas.microsoft.com/office/drawing/2014/main" id="{75DB13CF-1E1A-43C2-9BE8-A59E834B434C}"/>
                </a:ext>
              </a:extLst>
            </p:cNvPr>
            <p:cNvSpPr/>
            <p:nvPr/>
          </p:nvSpPr>
          <p:spPr>
            <a:xfrm>
              <a:off x="3372283" y="5328566"/>
              <a:ext cx="19396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AK</a:t>
              </a:r>
            </a:p>
          </p:txBody>
        </p:sp>
        <p:sp>
          <p:nvSpPr>
            <p:cNvPr id="22" name="HI">
              <a:extLst>
                <a:ext uri="{FF2B5EF4-FFF2-40B4-BE49-F238E27FC236}">
                  <a16:creationId xmlns:a16="http://schemas.microsoft.com/office/drawing/2014/main" id="{195AD6C5-DACB-458C-80BF-9CDF065529A3}"/>
                </a:ext>
              </a:extLst>
            </p:cNvPr>
            <p:cNvSpPr/>
            <p:nvPr/>
          </p:nvSpPr>
          <p:spPr>
            <a:xfrm>
              <a:off x="4520888" y="5788306"/>
              <a:ext cx="179536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HI</a:t>
              </a:r>
            </a:p>
          </p:txBody>
        </p:sp>
        <p:sp>
          <p:nvSpPr>
            <p:cNvPr id="23" name="TX">
              <a:extLst>
                <a:ext uri="{FF2B5EF4-FFF2-40B4-BE49-F238E27FC236}">
                  <a16:creationId xmlns:a16="http://schemas.microsoft.com/office/drawing/2014/main" id="{C91CDF5E-0C44-4093-B09D-A51C2C15EDC8}"/>
                </a:ext>
              </a:extLst>
            </p:cNvPr>
            <p:cNvSpPr/>
            <p:nvPr/>
          </p:nvSpPr>
          <p:spPr>
            <a:xfrm>
              <a:off x="5572453" y="4978045"/>
              <a:ext cx="184346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TX</a:t>
              </a:r>
            </a:p>
          </p:txBody>
        </p:sp>
        <p:sp>
          <p:nvSpPr>
            <p:cNvPr id="24" name="LA">
              <a:extLst>
                <a:ext uri="{FF2B5EF4-FFF2-40B4-BE49-F238E27FC236}">
                  <a16:creationId xmlns:a16="http://schemas.microsoft.com/office/drawing/2014/main" id="{56EE529E-6B0D-486D-81F5-47A8D7F0F11E}"/>
                </a:ext>
              </a:extLst>
            </p:cNvPr>
            <p:cNvSpPr/>
            <p:nvPr/>
          </p:nvSpPr>
          <p:spPr>
            <a:xfrm>
              <a:off x="6661714" y="4889145"/>
              <a:ext cx="18114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LA</a:t>
              </a:r>
            </a:p>
          </p:txBody>
        </p:sp>
        <p:sp>
          <p:nvSpPr>
            <p:cNvPr id="25" name="AR">
              <a:extLst>
                <a:ext uri="{FF2B5EF4-FFF2-40B4-BE49-F238E27FC236}">
                  <a16:creationId xmlns:a16="http://schemas.microsoft.com/office/drawing/2014/main" id="{92B8E2CC-408E-440D-B9F0-BE4AD3AA9935}"/>
                </a:ext>
              </a:extLst>
            </p:cNvPr>
            <p:cNvSpPr/>
            <p:nvPr/>
          </p:nvSpPr>
          <p:spPr>
            <a:xfrm>
              <a:off x="6656504" y="4234324"/>
              <a:ext cx="195566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AR</a:t>
              </a:r>
            </a:p>
          </p:txBody>
        </p:sp>
        <p:sp>
          <p:nvSpPr>
            <p:cNvPr id="26" name="MO">
              <a:extLst>
                <a:ext uri="{FF2B5EF4-FFF2-40B4-BE49-F238E27FC236}">
                  <a16:creationId xmlns:a16="http://schemas.microsoft.com/office/drawing/2014/main" id="{ADC33058-9D4B-4792-9173-FA1CE959813E}"/>
                </a:ext>
              </a:extLst>
            </p:cNvPr>
            <p:cNvSpPr/>
            <p:nvPr/>
          </p:nvSpPr>
          <p:spPr>
            <a:xfrm>
              <a:off x="6590745" y="3505730"/>
              <a:ext cx="22121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O</a:t>
              </a:r>
            </a:p>
          </p:txBody>
        </p:sp>
        <p:sp>
          <p:nvSpPr>
            <p:cNvPr id="27" name="IA">
              <a:extLst>
                <a:ext uri="{FF2B5EF4-FFF2-40B4-BE49-F238E27FC236}">
                  <a16:creationId xmlns:a16="http://schemas.microsoft.com/office/drawing/2014/main" id="{092BDB6D-CFE0-4B85-87EC-3DAE9488E1D0}"/>
                </a:ext>
              </a:extLst>
            </p:cNvPr>
            <p:cNvSpPr/>
            <p:nvPr/>
          </p:nvSpPr>
          <p:spPr>
            <a:xfrm>
              <a:off x="6483234" y="2815734"/>
              <a:ext cx="17152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IA</a:t>
              </a:r>
            </a:p>
          </p:txBody>
        </p:sp>
        <p:sp>
          <p:nvSpPr>
            <p:cNvPr id="28" name="IL">
              <a:extLst>
                <a:ext uri="{FF2B5EF4-FFF2-40B4-BE49-F238E27FC236}">
                  <a16:creationId xmlns:a16="http://schemas.microsoft.com/office/drawing/2014/main" id="{34D114EC-BBCD-4E4A-9BED-9D3F61402353}"/>
                </a:ext>
              </a:extLst>
            </p:cNvPr>
            <p:cNvSpPr/>
            <p:nvPr/>
          </p:nvSpPr>
          <p:spPr>
            <a:xfrm>
              <a:off x="7117027" y="3128154"/>
              <a:ext cx="16030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IL</a:t>
              </a:r>
            </a:p>
          </p:txBody>
        </p:sp>
        <p:sp>
          <p:nvSpPr>
            <p:cNvPr id="29" name="IN">
              <a:extLst>
                <a:ext uri="{FF2B5EF4-FFF2-40B4-BE49-F238E27FC236}">
                  <a16:creationId xmlns:a16="http://schemas.microsoft.com/office/drawing/2014/main" id="{4391A149-FFAD-4409-A8FA-5D7E883E970D}"/>
                </a:ext>
              </a:extLst>
            </p:cNvPr>
            <p:cNvSpPr/>
            <p:nvPr/>
          </p:nvSpPr>
          <p:spPr>
            <a:xfrm>
              <a:off x="7635063" y="3128154"/>
              <a:ext cx="179536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IN</a:t>
              </a:r>
            </a:p>
          </p:txBody>
        </p:sp>
        <p:sp>
          <p:nvSpPr>
            <p:cNvPr id="30" name="MN">
              <a:extLst>
                <a:ext uri="{FF2B5EF4-FFF2-40B4-BE49-F238E27FC236}">
                  <a16:creationId xmlns:a16="http://schemas.microsoft.com/office/drawing/2014/main" id="{3795DDF0-6B2D-4316-8DE1-456103C23FC3}"/>
                </a:ext>
              </a:extLst>
            </p:cNvPr>
            <p:cNvSpPr/>
            <p:nvPr/>
          </p:nvSpPr>
          <p:spPr>
            <a:xfrm>
              <a:off x="6290223" y="2005474"/>
              <a:ext cx="22121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N</a:t>
              </a:r>
            </a:p>
          </p:txBody>
        </p:sp>
        <p:sp>
          <p:nvSpPr>
            <p:cNvPr id="31" name="WI">
              <a:extLst>
                <a:ext uri="{FF2B5EF4-FFF2-40B4-BE49-F238E27FC236}">
                  <a16:creationId xmlns:a16="http://schemas.microsoft.com/office/drawing/2014/main" id="{B6133FB8-2F16-4344-BB5A-2CBB09E329D5}"/>
                </a:ext>
              </a:extLst>
            </p:cNvPr>
            <p:cNvSpPr/>
            <p:nvPr/>
          </p:nvSpPr>
          <p:spPr>
            <a:xfrm>
              <a:off x="6961568" y="2239154"/>
              <a:ext cx="20678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WI</a:t>
              </a:r>
            </a:p>
          </p:txBody>
        </p:sp>
        <p:sp>
          <p:nvSpPr>
            <p:cNvPr id="32" name="MI">
              <a:extLst>
                <a:ext uri="{FF2B5EF4-FFF2-40B4-BE49-F238E27FC236}">
                  <a16:creationId xmlns:a16="http://schemas.microsoft.com/office/drawing/2014/main" id="{2E970834-C3C8-441A-BEE7-9F57F6683BE4}"/>
                </a:ext>
              </a:extLst>
            </p:cNvPr>
            <p:cNvSpPr/>
            <p:nvPr/>
          </p:nvSpPr>
          <p:spPr>
            <a:xfrm>
              <a:off x="7833990" y="2592214"/>
              <a:ext cx="19236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I</a:t>
              </a:r>
            </a:p>
          </p:txBody>
        </p:sp>
        <p:sp>
          <p:nvSpPr>
            <p:cNvPr id="33" name="OH">
              <a:extLst>
                <a:ext uri="{FF2B5EF4-FFF2-40B4-BE49-F238E27FC236}">
                  <a16:creationId xmlns:a16="http://schemas.microsoft.com/office/drawing/2014/main" id="{B34D1303-482B-45E8-A1CF-CBFF8C4FC043}"/>
                </a:ext>
              </a:extLst>
            </p:cNvPr>
            <p:cNvSpPr/>
            <p:nvPr/>
          </p:nvSpPr>
          <p:spPr>
            <a:xfrm>
              <a:off x="8096021" y="3096404"/>
              <a:ext cx="20839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OH</a:t>
              </a:r>
            </a:p>
          </p:txBody>
        </p:sp>
        <p:sp>
          <p:nvSpPr>
            <p:cNvPr id="34" name="KY">
              <a:extLst>
                <a:ext uri="{FF2B5EF4-FFF2-40B4-BE49-F238E27FC236}">
                  <a16:creationId xmlns:a16="http://schemas.microsoft.com/office/drawing/2014/main" id="{B139E08A-909B-491B-8BD5-A6871FC9CCC6}"/>
                </a:ext>
              </a:extLst>
            </p:cNvPr>
            <p:cNvSpPr/>
            <p:nvPr/>
          </p:nvSpPr>
          <p:spPr>
            <a:xfrm>
              <a:off x="7970348" y="3613294"/>
              <a:ext cx="19236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KY</a:t>
              </a:r>
            </a:p>
          </p:txBody>
        </p:sp>
        <p:sp>
          <p:nvSpPr>
            <p:cNvPr id="35" name="TN">
              <a:extLst>
                <a:ext uri="{FF2B5EF4-FFF2-40B4-BE49-F238E27FC236}">
                  <a16:creationId xmlns:a16="http://schemas.microsoft.com/office/drawing/2014/main" id="{E885E3A6-0118-4CDE-9D68-E0D1ECF884ED}"/>
                </a:ext>
              </a:extLst>
            </p:cNvPr>
            <p:cNvSpPr/>
            <p:nvPr/>
          </p:nvSpPr>
          <p:spPr>
            <a:xfrm>
              <a:off x="7678118" y="4067954"/>
              <a:ext cx="19236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TN</a:t>
              </a:r>
            </a:p>
          </p:txBody>
        </p:sp>
        <p:sp>
          <p:nvSpPr>
            <p:cNvPr id="36" name="MS">
              <a:extLst>
                <a:ext uri="{FF2B5EF4-FFF2-40B4-BE49-F238E27FC236}">
                  <a16:creationId xmlns:a16="http://schemas.microsoft.com/office/drawing/2014/main" id="{A08B291D-B73E-4666-A6B8-C7ACC2268FC3}"/>
                </a:ext>
              </a:extLst>
            </p:cNvPr>
            <p:cNvSpPr/>
            <p:nvPr/>
          </p:nvSpPr>
          <p:spPr>
            <a:xfrm>
              <a:off x="7151808" y="4624214"/>
              <a:ext cx="20839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S</a:t>
              </a:r>
            </a:p>
          </p:txBody>
        </p:sp>
        <p:sp>
          <p:nvSpPr>
            <p:cNvPr id="37" name="AL">
              <a:extLst>
                <a:ext uri="{FF2B5EF4-FFF2-40B4-BE49-F238E27FC236}">
                  <a16:creationId xmlns:a16="http://schemas.microsoft.com/office/drawing/2014/main" id="{30D4A188-34E8-48F4-A356-B2E40AD7201B}"/>
                </a:ext>
              </a:extLst>
            </p:cNvPr>
            <p:cNvSpPr/>
            <p:nvPr/>
          </p:nvSpPr>
          <p:spPr>
            <a:xfrm>
              <a:off x="7634532" y="4586114"/>
              <a:ext cx="18114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AL</a:t>
              </a:r>
            </a:p>
          </p:txBody>
        </p:sp>
        <p:sp>
          <p:nvSpPr>
            <p:cNvPr id="38" name="GA">
              <a:extLst>
                <a:ext uri="{FF2B5EF4-FFF2-40B4-BE49-F238E27FC236}">
                  <a16:creationId xmlns:a16="http://schemas.microsoft.com/office/drawing/2014/main" id="{4A29FC09-4ABB-40F4-B810-4659FDA6342B}"/>
                </a:ext>
              </a:extLst>
            </p:cNvPr>
            <p:cNvSpPr/>
            <p:nvPr/>
          </p:nvSpPr>
          <p:spPr>
            <a:xfrm>
              <a:off x="8192536" y="4624214"/>
              <a:ext cx="19877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GA</a:t>
              </a:r>
            </a:p>
          </p:txBody>
        </p:sp>
        <p:sp>
          <p:nvSpPr>
            <p:cNvPr id="39" name="SC">
              <a:extLst>
                <a:ext uri="{FF2B5EF4-FFF2-40B4-BE49-F238E27FC236}">
                  <a16:creationId xmlns:a16="http://schemas.microsoft.com/office/drawing/2014/main" id="{6E1C9A8D-4C2F-4404-A4F8-64A29DB59A93}"/>
                </a:ext>
              </a:extLst>
            </p:cNvPr>
            <p:cNvSpPr/>
            <p:nvPr/>
          </p:nvSpPr>
          <p:spPr>
            <a:xfrm>
              <a:off x="8648257" y="4347354"/>
              <a:ext cx="18594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SC</a:t>
              </a:r>
            </a:p>
          </p:txBody>
        </p:sp>
        <p:sp>
          <p:nvSpPr>
            <p:cNvPr id="40" name="NC">
              <a:extLst>
                <a:ext uri="{FF2B5EF4-FFF2-40B4-BE49-F238E27FC236}">
                  <a16:creationId xmlns:a16="http://schemas.microsoft.com/office/drawing/2014/main" id="{297D94E6-9153-4585-A2A0-71DD107EB684}"/>
                </a:ext>
              </a:extLst>
            </p:cNvPr>
            <p:cNvSpPr/>
            <p:nvPr/>
          </p:nvSpPr>
          <p:spPr>
            <a:xfrm>
              <a:off x="8896652" y="3994295"/>
              <a:ext cx="19877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C</a:t>
              </a:r>
            </a:p>
          </p:txBody>
        </p:sp>
        <p:sp>
          <p:nvSpPr>
            <p:cNvPr id="41" name="VA">
              <a:extLst>
                <a:ext uri="{FF2B5EF4-FFF2-40B4-BE49-F238E27FC236}">
                  <a16:creationId xmlns:a16="http://schemas.microsoft.com/office/drawing/2014/main" id="{A6133AA6-69E4-40EB-BBE5-342B8612CE2C}"/>
                </a:ext>
              </a:extLst>
            </p:cNvPr>
            <p:cNvSpPr/>
            <p:nvPr/>
          </p:nvSpPr>
          <p:spPr>
            <a:xfrm>
              <a:off x="8902663" y="3505730"/>
              <a:ext cx="19075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VA</a:t>
              </a:r>
            </a:p>
          </p:txBody>
        </p:sp>
        <p:sp>
          <p:nvSpPr>
            <p:cNvPr id="42" name="WV">
              <a:extLst>
                <a:ext uri="{FF2B5EF4-FFF2-40B4-BE49-F238E27FC236}">
                  <a16:creationId xmlns:a16="http://schemas.microsoft.com/office/drawing/2014/main" id="{37D8D5D0-8398-4311-8332-D5D7E7B91C44}"/>
                </a:ext>
              </a:extLst>
            </p:cNvPr>
            <p:cNvSpPr/>
            <p:nvPr/>
          </p:nvSpPr>
          <p:spPr>
            <a:xfrm>
              <a:off x="8464462" y="3399049"/>
              <a:ext cx="22602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WV</a:t>
              </a:r>
            </a:p>
          </p:txBody>
        </p:sp>
        <p:sp>
          <p:nvSpPr>
            <p:cNvPr id="43" name="PA">
              <a:extLst>
                <a:ext uri="{FF2B5EF4-FFF2-40B4-BE49-F238E27FC236}">
                  <a16:creationId xmlns:a16="http://schemas.microsoft.com/office/drawing/2014/main" id="{B453BA3A-65F4-485E-8BE8-1ADA132DAD5F}"/>
                </a:ext>
              </a:extLst>
            </p:cNvPr>
            <p:cNvSpPr/>
            <p:nvPr/>
          </p:nvSpPr>
          <p:spPr>
            <a:xfrm>
              <a:off x="8822991" y="2893590"/>
              <a:ext cx="18915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PA</a:t>
              </a:r>
            </a:p>
          </p:txBody>
        </p:sp>
        <p:sp>
          <p:nvSpPr>
            <p:cNvPr id="44" name="NY">
              <a:extLst>
                <a:ext uri="{FF2B5EF4-FFF2-40B4-BE49-F238E27FC236}">
                  <a16:creationId xmlns:a16="http://schemas.microsoft.com/office/drawing/2014/main" id="{1E2ED9E3-F88A-4648-B1CA-C9F7C66EC261}"/>
                </a:ext>
              </a:extLst>
            </p:cNvPr>
            <p:cNvSpPr/>
            <p:nvPr/>
          </p:nvSpPr>
          <p:spPr>
            <a:xfrm>
              <a:off x="9174720" y="2389014"/>
              <a:ext cx="19877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Y</a:t>
              </a:r>
            </a:p>
          </p:txBody>
        </p:sp>
        <p:sp>
          <p:nvSpPr>
            <p:cNvPr id="45" name="FL">
              <a:extLst>
                <a:ext uri="{FF2B5EF4-FFF2-40B4-BE49-F238E27FC236}">
                  <a16:creationId xmlns:a16="http://schemas.microsoft.com/office/drawing/2014/main" id="{ED498488-78B1-4F31-867C-9BF30C57C35E}"/>
                </a:ext>
              </a:extLst>
            </p:cNvPr>
            <p:cNvSpPr/>
            <p:nvPr/>
          </p:nvSpPr>
          <p:spPr>
            <a:xfrm>
              <a:off x="8614971" y="5568210"/>
              <a:ext cx="16991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FL</a:t>
              </a:r>
            </a:p>
          </p:txBody>
        </p:sp>
        <p:sp>
          <p:nvSpPr>
            <p:cNvPr id="46" name="MD">
              <a:extLst>
                <a:ext uri="{FF2B5EF4-FFF2-40B4-BE49-F238E27FC236}">
                  <a16:creationId xmlns:a16="http://schemas.microsoft.com/office/drawing/2014/main" id="{EEB905B2-EA9F-414D-ADD4-DA1DB495FC24}"/>
                </a:ext>
              </a:extLst>
            </p:cNvPr>
            <p:cNvSpPr/>
            <p:nvPr/>
          </p:nvSpPr>
          <p:spPr>
            <a:xfrm>
              <a:off x="9719645" y="3648767"/>
              <a:ext cx="21961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D</a:t>
              </a:r>
            </a:p>
          </p:txBody>
        </p:sp>
        <p:sp>
          <p:nvSpPr>
            <p:cNvPr id="47" name="DE">
              <a:extLst>
                <a:ext uri="{FF2B5EF4-FFF2-40B4-BE49-F238E27FC236}">
                  <a16:creationId xmlns:a16="http://schemas.microsoft.com/office/drawing/2014/main" id="{3DCC1F36-1347-41B3-9FD1-89783D4EA75F}"/>
                </a:ext>
              </a:extLst>
            </p:cNvPr>
            <p:cNvSpPr/>
            <p:nvPr/>
          </p:nvSpPr>
          <p:spPr>
            <a:xfrm>
              <a:off x="10012112" y="3278014"/>
              <a:ext cx="19075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DE</a:t>
              </a:r>
            </a:p>
          </p:txBody>
        </p:sp>
        <p:sp>
          <p:nvSpPr>
            <p:cNvPr id="48" name="NJ">
              <a:extLst>
                <a:ext uri="{FF2B5EF4-FFF2-40B4-BE49-F238E27FC236}">
                  <a16:creationId xmlns:a16="http://schemas.microsoft.com/office/drawing/2014/main" id="{A070F6DD-D924-44D8-927F-308C3755ADB4}"/>
                </a:ext>
              </a:extLst>
            </p:cNvPr>
            <p:cNvSpPr/>
            <p:nvPr/>
          </p:nvSpPr>
          <p:spPr>
            <a:xfrm>
              <a:off x="10002747" y="3026554"/>
              <a:ext cx="18114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J</a:t>
              </a:r>
            </a:p>
          </p:txBody>
        </p:sp>
        <p:sp>
          <p:nvSpPr>
            <p:cNvPr id="49" name="CT">
              <a:extLst>
                <a:ext uri="{FF2B5EF4-FFF2-40B4-BE49-F238E27FC236}">
                  <a16:creationId xmlns:a16="http://schemas.microsoft.com/office/drawing/2014/main" id="{BE1F8633-9CC3-4020-A433-14F1F697B46E}"/>
                </a:ext>
              </a:extLst>
            </p:cNvPr>
            <p:cNvSpPr/>
            <p:nvPr/>
          </p:nvSpPr>
          <p:spPr>
            <a:xfrm>
              <a:off x="10031978" y="2724294"/>
              <a:ext cx="18274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CT</a:t>
              </a:r>
            </a:p>
          </p:txBody>
        </p:sp>
        <p:sp>
          <p:nvSpPr>
            <p:cNvPr id="50" name="MA">
              <a:extLst>
                <a:ext uri="{FF2B5EF4-FFF2-40B4-BE49-F238E27FC236}">
                  <a16:creationId xmlns:a16="http://schemas.microsoft.com/office/drawing/2014/main" id="{109C5C13-E6F6-4050-A60F-55CF3CAA56CC}"/>
                </a:ext>
              </a:extLst>
            </p:cNvPr>
            <p:cNvSpPr/>
            <p:nvPr/>
          </p:nvSpPr>
          <p:spPr>
            <a:xfrm>
              <a:off x="10322940" y="2254394"/>
              <a:ext cx="21320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A</a:t>
              </a:r>
            </a:p>
          </p:txBody>
        </p:sp>
        <p:sp>
          <p:nvSpPr>
            <p:cNvPr id="51" name="ME">
              <a:extLst>
                <a:ext uri="{FF2B5EF4-FFF2-40B4-BE49-F238E27FC236}">
                  <a16:creationId xmlns:a16="http://schemas.microsoft.com/office/drawing/2014/main" id="{28F8BD1E-7622-4EDB-B822-8D0B19C95007}"/>
                </a:ext>
              </a:extLst>
            </p:cNvPr>
            <p:cNvSpPr/>
            <p:nvPr/>
          </p:nvSpPr>
          <p:spPr>
            <a:xfrm>
              <a:off x="9867072" y="1731154"/>
              <a:ext cx="205184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ME</a:t>
              </a:r>
            </a:p>
          </p:txBody>
        </p:sp>
        <p:sp>
          <p:nvSpPr>
            <p:cNvPr id="52" name="NH">
              <a:extLst>
                <a:ext uri="{FF2B5EF4-FFF2-40B4-BE49-F238E27FC236}">
                  <a16:creationId xmlns:a16="http://schemas.microsoft.com/office/drawing/2014/main" id="{17D7B797-A68D-4A68-97A3-88CA814A602C}"/>
                </a:ext>
              </a:extLst>
            </p:cNvPr>
            <p:cNvSpPr/>
            <p:nvPr/>
          </p:nvSpPr>
          <p:spPr>
            <a:xfrm>
              <a:off x="9454526" y="1423814"/>
              <a:ext cx="208390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NH</a:t>
              </a:r>
            </a:p>
          </p:txBody>
        </p:sp>
        <p:sp>
          <p:nvSpPr>
            <p:cNvPr id="53" name="VT">
              <a:extLst>
                <a:ext uri="{FF2B5EF4-FFF2-40B4-BE49-F238E27FC236}">
                  <a16:creationId xmlns:a16="http://schemas.microsoft.com/office/drawing/2014/main" id="{59DF1189-1483-4E9A-BA6B-1C0C27A6DBCD}"/>
                </a:ext>
              </a:extLst>
            </p:cNvPr>
            <p:cNvSpPr/>
            <p:nvPr/>
          </p:nvSpPr>
          <p:spPr>
            <a:xfrm>
              <a:off x="9185540" y="1680354"/>
              <a:ext cx="182742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VT</a:t>
              </a:r>
            </a:p>
          </p:txBody>
        </p:sp>
        <p:sp>
          <p:nvSpPr>
            <p:cNvPr id="54" name="Line">
              <a:extLst>
                <a:ext uri="{FF2B5EF4-FFF2-40B4-BE49-F238E27FC236}">
                  <a16:creationId xmlns:a16="http://schemas.microsoft.com/office/drawing/2014/main" id="{18AF95C4-2492-4290-818C-B2D4A5ADD057}"/>
                </a:ext>
              </a:extLst>
            </p:cNvPr>
            <p:cNvSpPr/>
            <p:nvPr/>
          </p:nvSpPr>
          <p:spPr>
            <a:xfrm flipV="1">
              <a:off x="9803269" y="2344726"/>
              <a:ext cx="419755" cy="107911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55" name="RI">
              <a:extLst>
                <a:ext uri="{FF2B5EF4-FFF2-40B4-BE49-F238E27FC236}">
                  <a16:creationId xmlns:a16="http://schemas.microsoft.com/office/drawing/2014/main" id="{A35F933D-EAF7-48BC-831A-2DB5DD5AD2EE}"/>
                </a:ext>
              </a:extLst>
            </p:cNvPr>
            <p:cNvSpPr/>
            <p:nvPr/>
          </p:nvSpPr>
          <p:spPr>
            <a:xfrm>
              <a:off x="10355802" y="2489344"/>
              <a:ext cx="174728" cy="17440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25400" tIns="25400" rIns="25400" bIns="25400" numCol="1" anchor="ctr">
              <a:spAutoFit/>
            </a:bodyPr>
            <a:lstStyle>
              <a:lvl1pPr>
                <a:spcBef>
                  <a:spcPts val="5900"/>
                </a:spcBef>
                <a:defRPr sz="1600" b="0">
                  <a:solidFill>
                    <a:srgbClr val="1D1E21"/>
                  </a:solidFill>
                  <a:latin typeface="Open Sans Bold"/>
                  <a:ea typeface="Open Sans Bold"/>
                  <a:cs typeface="Open Sans Bold"/>
                  <a:sym typeface="Open Sans Bold"/>
                </a:defRPr>
              </a:lvl1pPr>
            </a:lstStyle>
            <a:p>
              <a:r>
                <a:rPr sz="800">
                  <a:solidFill>
                    <a:schemeClr val="tx1"/>
                  </a:solidFill>
                  <a:latin typeface="+mj-lt"/>
                </a:rPr>
                <a:t>RI</a:t>
              </a:r>
            </a:p>
          </p:txBody>
        </p:sp>
        <p:sp>
          <p:nvSpPr>
            <p:cNvPr id="56" name="Line">
              <a:extLst>
                <a:ext uri="{FF2B5EF4-FFF2-40B4-BE49-F238E27FC236}">
                  <a16:creationId xmlns:a16="http://schemas.microsoft.com/office/drawing/2014/main" id="{BA244152-E8C9-4FB9-B509-E69A5AFD9743}"/>
                </a:ext>
              </a:extLst>
            </p:cNvPr>
            <p:cNvSpPr/>
            <p:nvPr/>
          </p:nvSpPr>
          <p:spPr>
            <a:xfrm flipV="1">
              <a:off x="9845933" y="2583388"/>
              <a:ext cx="466666" cy="16848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58" name="Line">
              <a:extLst>
                <a:ext uri="{FF2B5EF4-FFF2-40B4-BE49-F238E27FC236}">
                  <a16:creationId xmlns:a16="http://schemas.microsoft.com/office/drawing/2014/main" id="{994FC929-A843-451B-A220-EC0BD0FFD143}"/>
                </a:ext>
              </a:extLst>
            </p:cNvPr>
            <p:cNvSpPr/>
            <p:nvPr/>
          </p:nvSpPr>
          <p:spPr>
            <a:xfrm>
              <a:off x="9673689" y="2657226"/>
              <a:ext cx="316330" cy="136982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59" name="Line">
              <a:extLst>
                <a:ext uri="{FF2B5EF4-FFF2-40B4-BE49-F238E27FC236}">
                  <a16:creationId xmlns:a16="http://schemas.microsoft.com/office/drawing/2014/main" id="{B3757E22-6354-4E19-AB5B-A6EFDE326440}"/>
                </a:ext>
              </a:extLst>
            </p:cNvPr>
            <p:cNvSpPr/>
            <p:nvPr/>
          </p:nvSpPr>
          <p:spPr>
            <a:xfrm>
              <a:off x="9483189" y="3005206"/>
              <a:ext cx="458272" cy="111840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60" name="Line">
              <a:extLst>
                <a:ext uri="{FF2B5EF4-FFF2-40B4-BE49-F238E27FC236}">
                  <a16:creationId xmlns:a16="http://schemas.microsoft.com/office/drawing/2014/main" id="{F23043FF-0A88-4F75-928B-7E2321085113}"/>
                </a:ext>
              </a:extLst>
            </p:cNvPr>
            <p:cNvSpPr/>
            <p:nvPr/>
          </p:nvSpPr>
          <p:spPr>
            <a:xfrm>
              <a:off x="9394290" y="3226186"/>
              <a:ext cx="532369" cy="129838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61" name="Line">
              <a:extLst>
                <a:ext uri="{FF2B5EF4-FFF2-40B4-BE49-F238E27FC236}">
                  <a16:creationId xmlns:a16="http://schemas.microsoft.com/office/drawing/2014/main" id="{4DBB1B02-6C72-4624-8F24-C98786095906}"/>
                </a:ext>
              </a:extLst>
            </p:cNvPr>
            <p:cNvSpPr/>
            <p:nvPr/>
          </p:nvSpPr>
          <p:spPr>
            <a:xfrm>
              <a:off x="9207560" y="3305958"/>
              <a:ext cx="482878" cy="408207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62" name="Line">
              <a:extLst>
                <a:ext uri="{FF2B5EF4-FFF2-40B4-BE49-F238E27FC236}">
                  <a16:creationId xmlns:a16="http://schemas.microsoft.com/office/drawing/2014/main" id="{B974F277-510B-4C14-AE3E-E6E82A21FBB9}"/>
                </a:ext>
              </a:extLst>
            </p:cNvPr>
            <p:cNvSpPr/>
            <p:nvPr/>
          </p:nvSpPr>
          <p:spPr>
            <a:xfrm flipH="1" flipV="1">
              <a:off x="9355296" y="1869905"/>
              <a:ext cx="171113" cy="270312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  <p:sp>
          <p:nvSpPr>
            <p:cNvPr id="63" name="Line">
              <a:extLst>
                <a:ext uri="{FF2B5EF4-FFF2-40B4-BE49-F238E27FC236}">
                  <a16:creationId xmlns:a16="http://schemas.microsoft.com/office/drawing/2014/main" id="{7B0CB4FC-0CCF-4C74-B0B6-EE6DD791EC4C}"/>
                </a:ext>
              </a:extLst>
            </p:cNvPr>
            <p:cNvSpPr/>
            <p:nvPr/>
          </p:nvSpPr>
          <p:spPr>
            <a:xfrm flipH="1" flipV="1">
              <a:off x="9587270" y="1604177"/>
              <a:ext cx="119043" cy="417136"/>
            </a:xfrm>
            <a:prstGeom prst="line">
              <a:avLst/>
            </a:prstGeom>
            <a:noFill/>
            <a:ln w="25400" cap="flat">
              <a:solidFill>
                <a:srgbClr val="8D9097"/>
              </a:solidFill>
              <a:prstDash val="solid"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defTabSz="228600">
                <a:defRPr sz="1200" b="0">
                  <a:latin typeface="Helvetica"/>
                  <a:ea typeface="Helvetica"/>
                  <a:cs typeface="Helvetica"/>
                  <a:sym typeface="Helvetica"/>
                </a:defRPr>
              </a:pPr>
              <a:endParaRPr sz="600">
                <a:latin typeface="+mj-lt"/>
              </a:endParaRPr>
            </a:p>
          </p:txBody>
        </p:sp>
      </p:grpSp>
      <p:grpSp>
        <p:nvGrpSpPr>
          <p:cNvPr id="134" name="Google Shape;5670;p70">
            <a:extLst>
              <a:ext uri="{FF2B5EF4-FFF2-40B4-BE49-F238E27FC236}">
                <a16:creationId xmlns:a16="http://schemas.microsoft.com/office/drawing/2014/main" id="{95ADC8C1-FF44-41DE-99D3-5A21D759A43D}"/>
              </a:ext>
            </a:extLst>
          </p:cNvPr>
          <p:cNvGrpSpPr/>
          <p:nvPr/>
        </p:nvGrpSpPr>
        <p:grpSpPr>
          <a:xfrm>
            <a:off x="11741532" y="4661347"/>
            <a:ext cx="138546" cy="425803"/>
            <a:chOff x="7564426" y="3224343"/>
            <a:chExt cx="119985" cy="368801"/>
          </a:xfrm>
          <a:solidFill>
            <a:schemeClr val="accent1"/>
          </a:solidFill>
        </p:grpSpPr>
        <p:sp>
          <p:nvSpPr>
            <p:cNvPr id="135" name="Google Shape;5671;p70">
              <a:extLst>
                <a:ext uri="{FF2B5EF4-FFF2-40B4-BE49-F238E27FC236}">
                  <a16:creationId xmlns:a16="http://schemas.microsoft.com/office/drawing/2014/main" id="{701A656E-AB4F-41E0-8B39-C3CF7D96B0A5}"/>
                </a:ext>
              </a:extLst>
            </p:cNvPr>
            <p:cNvSpPr/>
            <p:nvPr/>
          </p:nvSpPr>
          <p:spPr>
            <a:xfrm>
              <a:off x="7564426" y="3224379"/>
              <a:ext cx="119985" cy="368765"/>
            </a:xfrm>
            <a:custGeom>
              <a:avLst/>
              <a:gdLst/>
              <a:ahLst/>
              <a:cxnLst/>
              <a:rect l="l" t="t" r="r" b="b"/>
              <a:pathLst>
                <a:path w="13196" h="40557" extrusionOk="0">
                  <a:moveTo>
                    <a:pt x="2529" y="1"/>
                  </a:moveTo>
                  <a:lnTo>
                    <a:pt x="2547" y="1348"/>
                  </a:lnTo>
                  <a:lnTo>
                    <a:pt x="10244" y="1459"/>
                  </a:lnTo>
                  <a:lnTo>
                    <a:pt x="10227" y="108"/>
                  </a:lnTo>
                  <a:lnTo>
                    <a:pt x="2529" y="1"/>
                  </a:lnTo>
                  <a:close/>
                  <a:moveTo>
                    <a:pt x="3107" y="1850"/>
                  </a:moveTo>
                  <a:lnTo>
                    <a:pt x="556" y="15262"/>
                  </a:lnTo>
                  <a:lnTo>
                    <a:pt x="12617" y="15439"/>
                  </a:lnTo>
                  <a:lnTo>
                    <a:pt x="9489" y="1872"/>
                  </a:lnTo>
                  <a:lnTo>
                    <a:pt x="3107" y="1850"/>
                  </a:lnTo>
                  <a:close/>
                  <a:moveTo>
                    <a:pt x="1" y="15688"/>
                  </a:moveTo>
                  <a:lnTo>
                    <a:pt x="23" y="17035"/>
                  </a:lnTo>
                  <a:lnTo>
                    <a:pt x="13195" y="17226"/>
                  </a:lnTo>
                  <a:lnTo>
                    <a:pt x="13177" y="15879"/>
                  </a:lnTo>
                  <a:lnTo>
                    <a:pt x="1" y="15688"/>
                  </a:lnTo>
                  <a:close/>
                  <a:moveTo>
                    <a:pt x="4658" y="17528"/>
                  </a:moveTo>
                  <a:lnTo>
                    <a:pt x="4658" y="17528"/>
                  </a:lnTo>
                  <a:cubicBezTo>
                    <a:pt x="4685" y="21359"/>
                    <a:pt x="6027" y="32838"/>
                    <a:pt x="6902" y="40557"/>
                  </a:cubicBezTo>
                  <a:cubicBezTo>
                    <a:pt x="6902" y="40557"/>
                    <a:pt x="8813" y="21274"/>
                    <a:pt x="8560" y="17586"/>
                  </a:cubicBezTo>
                  <a:lnTo>
                    <a:pt x="4658" y="175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5672;p70">
              <a:extLst>
                <a:ext uri="{FF2B5EF4-FFF2-40B4-BE49-F238E27FC236}">
                  <a16:creationId xmlns:a16="http://schemas.microsoft.com/office/drawing/2014/main" id="{C6BDFA5D-5115-4B2B-95D4-1F26FCE40FF8}"/>
                </a:ext>
              </a:extLst>
            </p:cNvPr>
            <p:cNvSpPr/>
            <p:nvPr/>
          </p:nvSpPr>
          <p:spPr>
            <a:xfrm>
              <a:off x="7564426" y="3224343"/>
              <a:ext cx="119985" cy="368801"/>
            </a:xfrm>
            <a:custGeom>
              <a:avLst/>
              <a:gdLst/>
              <a:ahLst/>
              <a:cxnLst/>
              <a:rect l="l" t="t" r="r" b="b"/>
              <a:pathLst>
                <a:path w="13196" h="40561" extrusionOk="0">
                  <a:moveTo>
                    <a:pt x="2529" y="1"/>
                  </a:moveTo>
                  <a:lnTo>
                    <a:pt x="2529" y="5"/>
                  </a:lnTo>
                  <a:lnTo>
                    <a:pt x="2547" y="1352"/>
                  </a:lnTo>
                  <a:lnTo>
                    <a:pt x="10244" y="1463"/>
                  </a:lnTo>
                  <a:lnTo>
                    <a:pt x="10227" y="112"/>
                  </a:lnTo>
                  <a:lnTo>
                    <a:pt x="2529" y="1"/>
                  </a:lnTo>
                  <a:close/>
                  <a:moveTo>
                    <a:pt x="3107" y="1854"/>
                  </a:moveTo>
                  <a:lnTo>
                    <a:pt x="556" y="15266"/>
                  </a:lnTo>
                  <a:lnTo>
                    <a:pt x="12617" y="15443"/>
                  </a:lnTo>
                  <a:lnTo>
                    <a:pt x="9489" y="1876"/>
                  </a:lnTo>
                  <a:lnTo>
                    <a:pt x="3107" y="1854"/>
                  </a:lnTo>
                  <a:close/>
                  <a:moveTo>
                    <a:pt x="1" y="15692"/>
                  </a:moveTo>
                  <a:lnTo>
                    <a:pt x="23" y="17039"/>
                  </a:lnTo>
                  <a:lnTo>
                    <a:pt x="13195" y="17230"/>
                  </a:lnTo>
                  <a:lnTo>
                    <a:pt x="13177" y="15883"/>
                  </a:lnTo>
                  <a:lnTo>
                    <a:pt x="1" y="15692"/>
                  </a:lnTo>
                  <a:close/>
                  <a:moveTo>
                    <a:pt x="4658" y="17532"/>
                  </a:moveTo>
                  <a:lnTo>
                    <a:pt x="4658" y="17532"/>
                  </a:lnTo>
                  <a:cubicBezTo>
                    <a:pt x="4685" y="21363"/>
                    <a:pt x="6027" y="32842"/>
                    <a:pt x="6902" y="40561"/>
                  </a:cubicBezTo>
                  <a:cubicBezTo>
                    <a:pt x="6902" y="40561"/>
                    <a:pt x="8813" y="21278"/>
                    <a:pt x="8560" y="17590"/>
                  </a:cubicBezTo>
                  <a:lnTo>
                    <a:pt x="4658" y="175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" name="Google Shape;5673;p70">
            <a:extLst>
              <a:ext uri="{FF2B5EF4-FFF2-40B4-BE49-F238E27FC236}">
                <a16:creationId xmlns:a16="http://schemas.microsoft.com/office/drawing/2014/main" id="{87AA6308-9EBE-4773-9CD5-A61569D9D367}"/>
              </a:ext>
            </a:extLst>
          </p:cNvPr>
          <p:cNvGrpSpPr/>
          <p:nvPr/>
        </p:nvGrpSpPr>
        <p:grpSpPr>
          <a:xfrm>
            <a:off x="11684869" y="792826"/>
            <a:ext cx="251873" cy="441477"/>
            <a:chOff x="8370831" y="3202002"/>
            <a:chExt cx="218129" cy="382376"/>
          </a:xfrm>
        </p:grpSpPr>
        <p:sp>
          <p:nvSpPr>
            <p:cNvPr id="138" name="Google Shape;5674;p70">
              <a:extLst>
                <a:ext uri="{FF2B5EF4-FFF2-40B4-BE49-F238E27FC236}">
                  <a16:creationId xmlns:a16="http://schemas.microsoft.com/office/drawing/2014/main" id="{C7A872BB-0A95-4E93-B070-4B9A0902AE6C}"/>
                </a:ext>
              </a:extLst>
            </p:cNvPr>
            <p:cNvSpPr/>
            <p:nvPr/>
          </p:nvSpPr>
          <p:spPr>
            <a:xfrm>
              <a:off x="8370831" y="3202002"/>
              <a:ext cx="218129" cy="382376"/>
            </a:xfrm>
            <a:custGeom>
              <a:avLst/>
              <a:gdLst/>
              <a:ahLst/>
              <a:cxnLst/>
              <a:rect l="l" t="t" r="r" b="b"/>
              <a:pathLst>
                <a:path w="23990" h="42054" extrusionOk="0">
                  <a:moveTo>
                    <a:pt x="11991" y="0"/>
                  </a:moveTo>
                  <a:cubicBezTo>
                    <a:pt x="11992" y="0"/>
                    <a:pt x="11992" y="0"/>
                    <a:pt x="11993" y="0"/>
                  </a:cubicBezTo>
                  <a:lnTo>
                    <a:pt x="11993" y="0"/>
                  </a:lnTo>
                  <a:cubicBezTo>
                    <a:pt x="11994" y="0"/>
                    <a:pt x="11995" y="0"/>
                    <a:pt x="11995" y="0"/>
                  </a:cubicBezTo>
                  <a:close/>
                  <a:moveTo>
                    <a:pt x="11993" y="0"/>
                  </a:moveTo>
                  <a:cubicBezTo>
                    <a:pt x="5373" y="1"/>
                    <a:pt x="1" y="4974"/>
                    <a:pt x="1" y="11110"/>
                  </a:cubicBezTo>
                  <a:cubicBezTo>
                    <a:pt x="1" y="14754"/>
                    <a:pt x="1894" y="17985"/>
                    <a:pt x="4823" y="20011"/>
                  </a:cubicBezTo>
                  <a:lnTo>
                    <a:pt x="12062" y="42054"/>
                  </a:lnTo>
                  <a:lnTo>
                    <a:pt x="18950" y="20154"/>
                  </a:lnTo>
                  <a:cubicBezTo>
                    <a:pt x="21999" y="18136"/>
                    <a:pt x="23990" y="14843"/>
                    <a:pt x="23990" y="11110"/>
                  </a:cubicBezTo>
                  <a:cubicBezTo>
                    <a:pt x="23990" y="4978"/>
                    <a:pt x="18618" y="1"/>
                    <a:pt x="1199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5675;p70">
              <a:extLst>
                <a:ext uri="{FF2B5EF4-FFF2-40B4-BE49-F238E27FC236}">
                  <a16:creationId xmlns:a16="http://schemas.microsoft.com/office/drawing/2014/main" id="{D636DD7F-477F-473B-B38A-7EA78BD3C19C}"/>
                </a:ext>
              </a:extLst>
            </p:cNvPr>
            <p:cNvSpPr/>
            <p:nvPr/>
          </p:nvSpPr>
          <p:spPr>
            <a:xfrm>
              <a:off x="8397745" y="3226607"/>
              <a:ext cx="164347" cy="152181"/>
            </a:xfrm>
            <a:custGeom>
              <a:avLst/>
              <a:gdLst/>
              <a:ahLst/>
              <a:cxnLst/>
              <a:rect l="l" t="t" r="r" b="b"/>
              <a:pathLst>
                <a:path w="18075" h="16737" extrusionOk="0">
                  <a:moveTo>
                    <a:pt x="9035" y="0"/>
                  </a:moveTo>
                  <a:cubicBezTo>
                    <a:pt x="4045" y="0"/>
                    <a:pt x="1" y="3747"/>
                    <a:pt x="1" y="8368"/>
                  </a:cubicBezTo>
                  <a:cubicBezTo>
                    <a:pt x="1" y="12990"/>
                    <a:pt x="4045" y="16736"/>
                    <a:pt x="9035" y="16736"/>
                  </a:cubicBezTo>
                  <a:cubicBezTo>
                    <a:pt x="14026" y="16736"/>
                    <a:pt x="18075" y="12990"/>
                    <a:pt x="18075" y="8368"/>
                  </a:cubicBezTo>
                  <a:cubicBezTo>
                    <a:pt x="18075" y="3747"/>
                    <a:pt x="14030" y="0"/>
                    <a:pt x="90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0" name="Google Shape;5676;p70">
            <a:extLst>
              <a:ext uri="{FF2B5EF4-FFF2-40B4-BE49-F238E27FC236}">
                <a16:creationId xmlns:a16="http://schemas.microsoft.com/office/drawing/2014/main" id="{D9C3E218-C255-463A-B200-F083C9C487CE}"/>
              </a:ext>
            </a:extLst>
          </p:cNvPr>
          <p:cNvGrpSpPr/>
          <p:nvPr/>
        </p:nvGrpSpPr>
        <p:grpSpPr>
          <a:xfrm>
            <a:off x="11605155" y="3809445"/>
            <a:ext cx="411300" cy="354903"/>
            <a:chOff x="6742064" y="3750480"/>
            <a:chExt cx="399315" cy="344560"/>
          </a:xfrm>
        </p:grpSpPr>
        <p:sp>
          <p:nvSpPr>
            <p:cNvPr id="141" name="Google Shape;5677;p70">
              <a:extLst>
                <a:ext uri="{FF2B5EF4-FFF2-40B4-BE49-F238E27FC236}">
                  <a16:creationId xmlns:a16="http://schemas.microsoft.com/office/drawing/2014/main" id="{596EC8A4-A68C-49F4-A630-7AD818CF3253}"/>
                </a:ext>
              </a:extLst>
            </p:cNvPr>
            <p:cNvSpPr/>
            <p:nvPr/>
          </p:nvSpPr>
          <p:spPr>
            <a:xfrm>
              <a:off x="6742064" y="3750480"/>
              <a:ext cx="399315" cy="344560"/>
            </a:xfrm>
            <a:custGeom>
              <a:avLst/>
              <a:gdLst/>
              <a:ahLst/>
              <a:cxnLst/>
              <a:rect l="l" t="t" r="r" b="b"/>
              <a:pathLst>
                <a:path w="43917" h="37895" extrusionOk="0">
                  <a:moveTo>
                    <a:pt x="37846" y="1"/>
                  </a:moveTo>
                  <a:lnTo>
                    <a:pt x="6071" y="1"/>
                  </a:lnTo>
                  <a:cubicBezTo>
                    <a:pt x="2729" y="1"/>
                    <a:pt x="0" y="2734"/>
                    <a:pt x="0" y="6071"/>
                  </a:cubicBezTo>
                  <a:lnTo>
                    <a:pt x="0" y="18212"/>
                  </a:lnTo>
                  <a:cubicBezTo>
                    <a:pt x="0" y="21550"/>
                    <a:pt x="2729" y="24278"/>
                    <a:pt x="6071" y="24278"/>
                  </a:cubicBezTo>
                  <a:lnTo>
                    <a:pt x="18927" y="24278"/>
                  </a:lnTo>
                  <a:cubicBezTo>
                    <a:pt x="19332" y="24278"/>
                    <a:pt x="19754" y="24705"/>
                    <a:pt x="19821" y="25105"/>
                  </a:cubicBezTo>
                  <a:lnTo>
                    <a:pt x="21958" y="37895"/>
                  </a:lnTo>
                  <a:lnTo>
                    <a:pt x="24096" y="25101"/>
                  </a:lnTo>
                  <a:cubicBezTo>
                    <a:pt x="24162" y="24687"/>
                    <a:pt x="24629" y="24278"/>
                    <a:pt x="25051" y="24278"/>
                  </a:cubicBezTo>
                  <a:lnTo>
                    <a:pt x="37846" y="24278"/>
                  </a:lnTo>
                  <a:cubicBezTo>
                    <a:pt x="41183" y="24278"/>
                    <a:pt x="43916" y="21550"/>
                    <a:pt x="43916" y="18212"/>
                  </a:cubicBezTo>
                  <a:lnTo>
                    <a:pt x="43916" y="6071"/>
                  </a:lnTo>
                  <a:cubicBezTo>
                    <a:pt x="43916" y="2734"/>
                    <a:pt x="41183" y="1"/>
                    <a:pt x="3784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2" name="Google Shape;5678;p70">
              <a:extLst>
                <a:ext uri="{FF2B5EF4-FFF2-40B4-BE49-F238E27FC236}">
                  <a16:creationId xmlns:a16="http://schemas.microsoft.com/office/drawing/2014/main" id="{4F0828EF-512D-43B6-966B-E6428ECCFA21}"/>
                </a:ext>
              </a:extLst>
            </p:cNvPr>
            <p:cNvSpPr/>
            <p:nvPr/>
          </p:nvSpPr>
          <p:spPr>
            <a:xfrm>
              <a:off x="6764168" y="3772584"/>
              <a:ext cx="355108" cy="176549"/>
            </a:xfrm>
            <a:custGeom>
              <a:avLst/>
              <a:gdLst/>
              <a:ahLst/>
              <a:cxnLst/>
              <a:rect l="l" t="t" r="r" b="b"/>
              <a:pathLst>
                <a:path w="39055" h="19417" extrusionOk="0">
                  <a:moveTo>
                    <a:pt x="3755" y="1"/>
                  </a:moveTo>
                  <a:lnTo>
                    <a:pt x="35295" y="1"/>
                  </a:lnTo>
                  <a:cubicBezTo>
                    <a:pt x="37370" y="10"/>
                    <a:pt x="39045" y="1685"/>
                    <a:pt x="39054" y="3756"/>
                  </a:cubicBezTo>
                  <a:lnTo>
                    <a:pt x="39054" y="15666"/>
                  </a:lnTo>
                  <a:cubicBezTo>
                    <a:pt x="39045" y="17737"/>
                    <a:pt x="37370" y="19412"/>
                    <a:pt x="35295" y="19417"/>
                  </a:cubicBezTo>
                  <a:lnTo>
                    <a:pt x="3755" y="19417"/>
                  </a:lnTo>
                  <a:cubicBezTo>
                    <a:pt x="1680" y="19412"/>
                    <a:pt x="5" y="17737"/>
                    <a:pt x="0" y="15666"/>
                  </a:cubicBezTo>
                  <a:lnTo>
                    <a:pt x="0" y="3756"/>
                  </a:lnTo>
                  <a:cubicBezTo>
                    <a:pt x="5" y="1685"/>
                    <a:pt x="1680" y="10"/>
                    <a:pt x="3755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3" name="Google Shape;5679;p70">
            <a:extLst>
              <a:ext uri="{FF2B5EF4-FFF2-40B4-BE49-F238E27FC236}">
                <a16:creationId xmlns:a16="http://schemas.microsoft.com/office/drawing/2014/main" id="{92DAFC0D-CD9D-4BB6-B06F-71DE1894EA4D}"/>
              </a:ext>
            </a:extLst>
          </p:cNvPr>
          <p:cNvGrpSpPr/>
          <p:nvPr/>
        </p:nvGrpSpPr>
        <p:grpSpPr>
          <a:xfrm>
            <a:off x="11690885" y="5690853"/>
            <a:ext cx="239840" cy="374320"/>
            <a:chOff x="7248525" y="3739696"/>
            <a:chExt cx="230531" cy="359790"/>
          </a:xfrm>
        </p:grpSpPr>
        <p:sp>
          <p:nvSpPr>
            <p:cNvPr id="144" name="Google Shape;5680;p70">
              <a:extLst>
                <a:ext uri="{FF2B5EF4-FFF2-40B4-BE49-F238E27FC236}">
                  <a16:creationId xmlns:a16="http://schemas.microsoft.com/office/drawing/2014/main" id="{25E2872F-508C-4703-BB40-DC8509894C3B}"/>
                </a:ext>
              </a:extLst>
            </p:cNvPr>
            <p:cNvSpPr/>
            <p:nvPr/>
          </p:nvSpPr>
          <p:spPr>
            <a:xfrm>
              <a:off x="7248525" y="3739696"/>
              <a:ext cx="230531" cy="359790"/>
            </a:xfrm>
            <a:custGeom>
              <a:avLst/>
              <a:gdLst/>
              <a:ahLst/>
              <a:cxnLst/>
              <a:rect l="l" t="t" r="r" b="b"/>
              <a:pathLst>
                <a:path w="25354" h="39570" extrusionOk="0">
                  <a:moveTo>
                    <a:pt x="19434" y="18"/>
                  </a:moveTo>
                  <a:lnTo>
                    <a:pt x="6338" y="5"/>
                  </a:lnTo>
                  <a:cubicBezTo>
                    <a:pt x="2854" y="0"/>
                    <a:pt x="1" y="2858"/>
                    <a:pt x="1" y="6342"/>
                  </a:cubicBezTo>
                  <a:lnTo>
                    <a:pt x="1" y="19016"/>
                  </a:lnTo>
                  <a:cubicBezTo>
                    <a:pt x="1" y="29006"/>
                    <a:pt x="6280" y="22820"/>
                    <a:pt x="12679" y="39570"/>
                  </a:cubicBezTo>
                  <a:cubicBezTo>
                    <a:pt x="19074" y="22820"/>
                    <a:pt x="25354" y="29006"/>
                    <a:pt x="25354" y="19016"/>
                  </a:cubicBezTo>
                  <a:lnTo>
                    <a:pt x="25354" y="6342"/>
                  </a:lnTo>
                  <a:cubicBezTo>
                    <a:pt x="25354" y="2858"/>
                    <a:pt x="22923" y="18"/>
                    <a:pt x="19434" y="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5" name="Google Shape;5681;p70">
              <a:extLst>
                <a:ext uri="{FF2B5EF4-FFF2-40B4-BE49-F238E27FC236}">
                  <a16:creationId xmlns:a16="http://schemas.microsoft.com/office/drawing/2014/main" id="{F1B682E1-9350-4C8E-9AE7-2ACD3ECBFAFC}"/>
                </a:ext>
              </a:extLst>
            </p:cNvPr>
            <p:cNvSpPr/>
            <p:nvPr/>
          </p:nvSpPr>
          <p:spPr>
            <a:xfrm>
              <a:off x="7271639" y="3762810"/>
              <a:ext cx="184350" cy="184387"/>
            </a:xfrm>
            <a:custGeom>
              <a:avLst/>
              <a:gdLst/>
              <a:ahLst/>
              <a:cxnLst/>
              <a:rect l="l" t="t" r="r" b="b"/>
              <a:pathLst>
                <a:path w="20275" h="20279" extrusionOk="0">
                  <a:moveTo>
                    <a:pt x="3738" y="0"/>
                  </a:moveTo>
                  <a:lnTo>
                    <a:pt x="16532" y="0"/>
                  </a:lnTo>
                  <a:cubicBezTo>
                    <a:pt x="18594" y="5"/>
                    <a:pt x="20270" y="1680"/>
                    <a:pt x="20274" y="3742"/>
                  </a:cubicBezTo>
                  <a:lnTo>
                    <a:pt x="20274" y="16536"/>
                  </a:lnTo>
                  <a:cubicBezTo>
                    <a:pt x="20270" y="18598"/>
                    <a:pt x="18594" y="20274"/>
                    <a:pt x="16532" y="20278"/>
                  </a:cubicBezTo>
                  <a:lnTo>
                    <a:pt x="3738" y="20278"/>
                  </a:lnTo>
                  <a:cubicBezTo>
                    <a:pt x="1676" y="20274"/>
                    <a:pt x="5" y="18598"/>
                    <a:pt x="1" y="16536"/>
                  </a:cubicBezTo>
                  <a:lnTo>
                    <a:pt x="1" y="3742"/>
                  </a:lnTo>
                  <a:cubicBezTo>
                    <a:pt x="5" y="1680"/>
                    <a:pt x="1676" y="5"/>
                    <a:pt x="373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6" name="Google Shape;5682;p70">
            <a:extLst>
              <a:ext uri="{FF2B5EF4-FFF2-40B4-BE49-F238E27FC236}">
                <a16:creationId xmlns:a16="http://schemas.microsoft.com/office/drawing/2014/main" id="{4F80A6CA-78A0-4343-A3E2-A7465F7CEF7D}"/>
              </a:ext>
            </a:extLst>
          </p:cNvPr>
          <p:cNvGrpSpPr/>
          <p:nvPr/>
        </p:nvGrpSpPr>
        <p:grpSpPr>
          <a:xfrm>
            <a:off x="11702543" y="2818392"/>
            <a:ext cx="216524" cy="370467"/>
            <a:chOff x="7601242" y="3729267"/>
            <a:chExt cx="222566" cy="380803"/>
          </a:xfrm>
        </p:grpSpPr>
        <p:sp>
          <p:nvSpPr>
            <p:cNvPr id="147" name="Google Shape;5683;p70">
              <a:extLst>
                <a:ext uri="{FF2B5EF4-FFF2-40B4-BE49-F238E27FC236}">
                  <a16:creationId xmlns:a16="http://schemas.microsoft.com/office/drawing/2014/main" id="{A87DCF82-E876-43F4-90ED-40974ECB42D1}"/>
                </a:ext>
              </a:extLst>
            </p:cNvPr>
            <p:cNvSpPr/>
            <p:nvPr/>
          </p:nvSpPr>
          <p:spPr>
            <a:xfrm>
              <a:off x="7601242" y="3729267"/>
              <a:ext cx="222566" cy="380803"/>
            </a:xfrm>
            <a:custGeom>
              <a:avLst/>
              <a:gdLst/>
              <a:ahLst/>
              <a:cxnLst/>
              <a:rect l="l" t="t" r="r" b="b"/>
              <a:pathLst>
                <a:path w="24478" h="41881" extrusionOk="0">
                  <a:moveTo>
                    <a:pt x="12239" y="1"/>
                  </a:moveTo>
                  <a:cubicBezTo>
                    <a:pt x="5480" y="1"/>
                    <a:pt x="0" y="5320"/>
                    <a:pt x="0" y="11875"/>
                  </a:cubicBezTo>
                  <a:cubicBezTo>
                    <a:pt x="0" y="17537"/>
                    <a:pt x="4080" y="22270"/>
                    <a:pt x="9537" y="23461"/>
                  </a:cubicBezTo>
                  <a:cubicBezTo>
                    <a:pt x="10235" y="23616"/>
                    <a:pt x="10190" y="24114"/>
                    <a:pt x="10270" y="24825"/>
                  </a:cubicBezTo>
                  <a:lnTo>
                    <a:pt x="12239" y="41881"/>
                  </a:lnTo>
                  <a:lnTo>
                    <a:pt x="14181" y="25065"/>
                  </a:lnTo>
                  <a:cubicBezTo>
                    <a:pt x="14257" y="24385"/>
                    <a:pt x="14230" y="23612"/>
                    <a:pt x="14897" y="23469"/>
                  </a:cubicBezTo>
                  <a:cubicBezTo>
                    <a:pt x="20381" y="22296"/>
                    <a:pt x="24478" y="17550"/>
                    <a:pt x="24478" y="11875"/>
                  </a:cubicBezTo>
                  <a:cubicBezTo>
                    <a:pt x="24478" y="5320"/>
                    <a:pt x="18998" y="1"/>
                    <a:pt x="12239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8" name="Google Shape;5684;p70">
              <a:extLst>
                <a:ext uri="{FF2B5EF4-FFF2-40B4-BE49-F238E27FC236}">
                  <a16:creationId xmlns:a16="http://schemas.microsoft.com/office/drawing/2014/main" id="{650CA92E-E955-46B8-94D5-1F9A4A427335}"/>
                </a:ext>
              </a:extLst>
            </p:cNvPr>
            <p:cNvSpPr/>
            <p:nvPr/>
          </p:nvSpPr>
          <p:spPr>
            <a:xfrm>
              <a:off x="7621200" y="3748625"/>
              <a:ext cx="182696" cy="177276"/>
            </a:xfrm>
            <a:custGeom>
              <a:avLst/>
              <a:gdLst/>
              <a:ahLst/>
              <a:cxnLst/>
              <a:rect l="l" t="t" r="r" b="b"/>
              <a:pathLst>
                <a:path w="20093" h="19497" extrusionOk="0">
                  <a:moveTo>
                    <a:pt x="10044" y="19496"/>
                  </a:moveTo>
                  <a:cubicBezTo>
                    <a:pt x="15577" y="19496"/>
                    <a:pt x="20092" y="15119"/>
                    <a:pt x="20092" y="9751"/>
                  </a:cubicBezTo>
                  <a:cubicBezTo>
                    <a:pt x="20092" y="4378"/>
                    <a:pt x="15577" y="0"/>
                    <a:pt x="10044" y="0"/>
                  </a:cubicBezTo>
                  <a:cubicBezTo>
                    <a:pt x="4511" y="0"/>
                    <a:pt x="1" y="4378"/>
                    <a:pt x="1" y="9751"/>
                  </a:cubicBezTo>
                  <a:cubicBezTo>
                    <a:pt x="1" y="15119"/>
                    <a:pt x="4511" y="19496"/>
                    <a:pt x="10044" y="1949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49" name="Google Shape;5685;p70">
            <a:extLst>
              <a:ext uri="{FF2B5EF4-FFF2-40B4-BE49-F238E27FC236}">
                <a16:creationId xmlns:a16="http://schemas.microsoft.com/office/drawing/2014/main" id="{DD3BD491-BEF4-4EE3-A4D1-53B1AAF8A6E7}"/>
              </a:ext>
            </a:extLst>
          </p:cNvPr>
          <p:cNvSpPr/>
          <p:nvPr/>
        </p:nvSpPr>
        <p:spPr>
          <a:xfrm>
            <a:off x="11657384" y="2305754"/>
            <a:ext cx="306843" cy="394214"/>
          </a:xfrm>
          <a:custGeom>
            <a:avLst/>
            <a:gdLst/>
            <a:ahLst/>
            <a:cxnLst/>
            <a:rect l="l" t="t" r="r" b="b"/>
            <a:pathLst>
              <a:path w="29230" h="37553" extrusionOk="0">
                <a:moveTo>
                  <a:pt x="9655" y="0"/>
                </a:moveTo>
                <a:cubicBezTo>
                  <a:pt x="7693" y="0"/>
                  <a:pt x="5983" y="1692"/>
                  <a:pt x="5974" y="3671"/>
                </a:cubicBezTo>
                <a:cubicBezTo>
                  <a:pt x="5974" y="4182"/>
                  <a:pt x="6085" y="4693"/>
                  <a:pt x="6245" y="5036"/>
                </a:cubicBezTo>
                <a:cubicBezTo>
                  <a:pt x="7169" y="7653"/>
                  <a:pt x="7369" y="9675"/>
                  <a:pt x="6863" y="11515"/>
                </a:cubicBezTo>
                <a:lnTo>
                  <a:pt x="6716" y="11933"/>
                </a:lnTo>
                <a:cubicBezTo>
                  <a:pt x="6089" y="13821"/>
                  <a:pt x="5018" y="16181"/>
                  <a:pt x="1850" y="19345"/>
                </a:cubicBezTo>
                <a:cubicBezTo>
                  <a:pt x="1" y="21194"/>
                  <a:pt x="623" y="24331"/>
                  <a:pt x="3041" y="25340"/>
                </a:cubicBezTo>
                <a:cubicBezTo>
                  <a:pt x="3475" y="25523"/>
                  <a:pt x="3948" y="25620"/>
                  <a:pt x="4422" y="25620"/>
                </a:cubicBezTo>
                <a:cubicBezTo>
                  <a:pt x="4433" y="25620"/>
                  <a:pt x="4443" y="25620"/>
                  <a:pt x="4454" y="25620"/>
                </a:cubicBezTo>
                <a:lnTo>
                  <a:pt x="12866" y="25620"/>
                </a:lnTo>
                <a:lnTo>
                  <a:pt x="14862" y="37552"/>
                </a:lnTo>
                <a:lnTo>
                  <a:pt x="16848" y="25625"/>
                </a:lnTo>
                <a:lnTo>
                  <a:pt x="25243" y="25625"/>
                </a:lnTo>
                <a:cubicBezTo>
                  <a:pt x="25254" y="25625"/>
                  <a:pt x="25264" y="25625"/>
                  <a:pt x="25275" y="25625"/>
                </a:cubicBezTo>
                <a:cubicBezTo>
                  <a:pt x="25753" y="25625"/>
                  <a:pt x="26230" y="25527"/>
                  <a:pt x="26669" y="25345"/>
                </a:cubicBezTo>
                <a:cubicBezTo>
                  <a:pt x="27576" y="24976"/>
                  <a:pt x="28292" y="24256"/>
                  <a:pt x="28660" y="23354"/>
                </a:cubicBezTo>
                <a:cubicBezTo>
                  <a:pt x="29229" y="21980"/>
                  <a:pt x="28914" y="20398"/>
                  <a:pt x="27865" y="19345"/>
                </a:cubicBezTo>
                <a:cubicBezTo>
                  <a:pt x="24701" y="16177"/>
                  <a:pt x="23630" y="13821"/>
                  <a:pt x="22999" y="11933"/>
                </a:cubicBezTo>
                <a:cubicBezTo>
                  <a:pt x="22354" y="9999"/>
                  <a:pt x="22505" y="7880"/>
                  <a:pt x="23443" y="5213"/>
                </a:cubicBezTo>
                <a:cubicBezTo>
                  <a:pt x="23661" y="4733"/>
                  <a:pt x="23772" y="4218"/>
                  <a:pt x="23772" y="3693"/>
                </a:cubicBezTo>
                <a:cubicBezTo>
                  <a:pt x="23759" y="1670"/>
                  <a:pt x="22105" y="27"/>
                  <a:pt x="20100" y="27"/>
                </a:cubicBezTo>
                <a:cubicBezTo>
                  <a:pt x="20098" y="27"/>
                  <a:pt x="20095" y="27"/>
                  <a:pt x="20092" y="27"/>
                </a:cubicBezTo>
                <a:lnTo>
                  <a:pt x="9662" y="0"/>
                </a:lnTo>
                <a:cubicBezTo>
                  <a:pt x="9660" y="0"/>
                  <a:pt x="9657" y="0"/>
                  <a:pt x="965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50" name="Google Shape;5686;p70">
            <a:extLst>
              <a:ext uri="{FF2B5EF4-FFF2-40B4-BE49-F238E27FC236}">
                <a16:creationId xmlns:a16="http://schemas.microsoft.com/office/drawing/2014/main" id="{349D5A2F-9058-41BA-833C-8B3422A17288}"/>
              </a:ext>
            </a:extLst>
          </p:cNvPr>
          <p:cNvGrpSpPr/>
          <p:nvPr/>
        </p:nvGrpSpPr>
        <p:grpSpPr>
          <a:xfrm>
            <a:off x="11682175" y="1352727"/>
            <a:ext cx="257261" cy="366852"/>
            <a:chOff x="8304647" y="3738687"/>
            <a:chExt cx="225076" cy="320956"/>
          </a:xfrm>
          <a:solidFill>
            <a:schemeClr val="accent1"/>
          </a:solidFill>
        </p:grpSpPr>
        <p:sp>
          <p:nvSpPr>
            <p:cNvPr id="151" name="Google Shape;5687;p70">
              <a:extLst>
                <a:ext uri="{FF2B5EF4-FFF2-40B4-BE49-F238E27FC236}">
                  <a16:creationId xmlns:a16="http://schemas.microsoft.com/office/drawing/2014/main" id="{01813162-34B9-4F2C-A392-74712E59BD2F}"/>
                </a:ext>
              </a:extLst>
            </p:cNvPr>
            <p:cNvSpPr/>
            <p:nvPr/>
          </p:nvSpPr>
          <p:spPr>
            <a:xfrm>
              <a:off x="8335725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2" name="Google Shape;5688;p70">
              <a:extLst>
                <a:ext uri="{FF2B5EF4-FFF2-40B4-BE49-F238E27FC236}">
                  <a16:creationId xmlns:a16="http://schemas.microsoft.com/office/drawing/2014/main" id="{4486A7B0-6556-4666-8C80-0B9D0CB00D63}"/>
                </a:ext>
              </a:extLst>
            </p:cNvPr>
            <p:cNvSpPr/>
            <p:nvPr/>
          </p:nvSpPr>
          <p:spPr>
            <a:xfrm>
              <a:off x="8337943" y="3738687"/>
              <a:ext cx="191779" cy="86151"/>
            </a:xfrm>
            <a:custGeom>
              <a:avLst/>
              <a:gdLst/>
              <a:ahLst/>
              <a:cxnLst/>
              <a:rect l="l" t="t" r="r" b="b"/>
              <a:pathLst>
                <a:path w="21092" h="9475" extrusionOk="0">
                  <a:moveTo>
                    <a:pt x="1" y="0"/>
                  </a:moveTo>
                  <a:lnTo>
                    <a:pt x="432" y="9475"/>
                  </a:lnTo>
                  <a:lnTo>
                    <a:pt x="21092" y="9475"/>
                  </a:lnTo>
                  <a:lnTo>
                    <a:pt x="17648" y="4524"/>
                  </a:lnTo>
                  <a:lnTo>
                    <a:pt x="2109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3" name="Google Shape;5689;p70">
              <a:extLst>
                <a:ext uri="{FF2B5EF4-FFF2-40B4-BE49-F238E27FC236}">
                  <a16:creationId xmlns:a16="http://schemas.microsoft.com/office/drawing/2014/main" id="{25DD0E66-21F4-432C-A576-37E6C28DA727}"/>
                </a:ext>
              </a:extLst>
            </p:cNvPr>
            <p:cNvSpPr/>
            <p:nvPr/>
          </p:nvSpPr>
          <p:spPr>
            <a:xfrm>
              <a:off x="8304647" y="4044004"/>
              <a:ext cx="76341" cy="15639"/>
            </a:xfrm>
            <a:custGeom>
              <a:avLst/>
              <a:gdLst/>
              <a:ahLst/>
              <a:cxnLst/>
              <a:rect l="l" t="t" r="r" b="b"/>
              <a:pathLst>
                <a:path w="8396" h="1720" extrusionOk="0">
                  <a:moveTo>
                    <a:pt x="4200" y="0"/>
                  </a:moveTo>
                  <a:cubicBezTo>
                    <a:pt x="1881" y="0"/>
                    <a:pt x="1" y="382"/>
                    <a:pt x="1" y="862"/>
                  </a:cubicBezTo>
                  <a:cubicBezTo>
                    <a:pt x="1" y="1338"/>
                    <a:pt x="1881" y="1720"/>
                    <a:pt x="4200" y="1720"/>
                  </a:cubicBezTo>
                  <a:cubicBezTo>
                    <a:pt x="6516" y="1720"/>
                    <a:pt x="8395" y="1338"/>
                    <a:pt x="8395" y="862"/>
                  </a:cubicBezTo>
                  <a:cubicBezTo>
                    <a:pt x="8395" y="382"/>
                    <a:pt x="6516" y="0"/>
                    <a:pt x="420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54" name="Google Shape;5690;p70">
            <a:extLst>
              <a:ext uri="{FF2B5EF4-FFF2-40B4-BE49-F238E27FC236}">
                <a16:creationId xmlns:a16="http://schemas.microsoft.com/office/drawing/2014/main" id="{1F1F70EE-11AE-4C69-9FB8-96D877C3A55E}"/>
              </a:ext>
            </a:extLst>
          </p:cNvPr>
          <p:cNvGrpSpPr/>
          <p:nvPr/>
        </p:nvGrpSpPr>
        <p:grpSpPr>
          <a:xfrm>
            <a:off x="11692177" y="5205574"/>
            <a:ext cx="237255" cy="366852"/>
            <a:chOff x="8615101" y="3738687"/>
            <a:chExt cx="207573" cy="320956"/>
          </a:xfrm>
          <a:solidFill>
            <a:schemeClr val="accent1"/>
          </a:solidFill>
        </p:grpSpPr>
        <p:sp>
          <p:nvSpPr>
            <p:cNvPr id="155" name="Google Shape;5691;p70">
              <a:extLst>
                <a:ext uri="{FF2B5EF4-FFF2-40B4-BE49-F238E27FC236}">
                  <a16:creationId xmlns:a16="http://schemas.microsoft.com/office/drawing/2014/main" id="{21A2C7A9-9F0A-417F-A7F3-9F3092AE887B}"/>
                </a:ext>
              </a:extLst>
            </p:cNvPr>
            <p:cNvSpPr/>
            <p:nvPr/>
          </p:nvSpPr>
          <p:spPr>
            <a:xfrm>
              <a:off x="8646134" y="3738687"/>
              <a:ext cx="12248" cy="309245"/>
            </a:xfrm>
            <a:custGeom>
              <a:avLst/>
              <a:gdLst/>
              <a:ahLst/>
              <a:cxnLst/>
              <a:rect l="l" t="t" r="r" b="b"/>
              <a:pathLst>
                <a:path w="1347" h="34011" extrusionOk="0">
                  <a:moveTo>
                    <a:pt x="0" y="0"/>
                  </a:moveTo>
                  <a:lnTo>
                    <a:pt x="0" y="34010"/>
                  </a:lnTo>
                  <a:lnTo>
                    <a:pt x="1347" y="34010"/>
                  </a:lnTo>
                  <a:lnTo>
                    <a:pt x="13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6" name="Google Shape;5692;p70">
              <a:extLst>
                <a:ext uri="{FF2B5EF4-FFF2-40B4-BE49-F238E27FC236}">
                  <a16:creationId xmlns:a16="http://schemas.microsoft.com/office/drawing/2014/main" id="{0FBCDC67-4621-4245-8D09-79DC93475185}"/>
                </a:ext>
              </a:extLst>
            </p:cNvPr>
            <p:cNvSpPr/>
            <p:nvPr/>
          </p:nvSpPr>
          <p:spPr>
            <a:xfrm>
              <a:off x="8615101" y="4044004"/>
              <a:ext cx="76332" cy="15639"/>
            </a:xfrm>
            <a:custGeom>
              <a:avLst/>
              <a:gdLst/>
              <a:ahLst/>
              <a:cxnLst/>
              <a:rect l="l" t="t" r="r" b="b"/>
              <a:pathLst>
                <a:path w="8395" h="1720" extrusionOk="0">
                  <a:moveTo>
                    <a:pt x="4195" y="0"/>
                  </a:moveTo>
                  <a:cubicBezTo>
                    <a:pt x="1875" y="0"/>
                    <a:pt x="0" y="382"/>
                    <a:pt x="0" y="862"/>
                  </a:cubicBezTo>
                  <a:cubicBezTo>
                    <a:pt x="0" y="1338"/>
                    <a:pt x="1875" y="1720"/>
                    <a:pt x="4195" y="1720"/>
                  </a:cubicBezTo>
                  <a:cubicBezTo>
                    <a:pt x="6515" y="1720"/>
                    <a:pt x="8395" y="1338"/>
                    <a:pt x="8395" y="862"/>
                  </a:cubicBezTo>
                  <a:cubicBezTo>
                    <a:pt x="8395" y="382"/>
                    <a:pt x="6515" y="0"/>
                    <a:pt x="4195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7" name="Google Shape;5693;p70">
              <a:extLst>
                <a:ext uri="{FF2B5EF4-FFF2-40B4-BE49-F238E27FC236}">
                  <a16:creationId xmlns:a16="http://schemas.microsoft.com/office/drawing/2014/main" id="{05FE3747-ECFD-4D1E-AB52-E689B63BC5B7}"/>
                </a:ext>
              </a:extLst>
            </p:cNvPr>
            <p:cNvSpPr/>
            <p:nvPr/>
          </p:nvSpPr>
          <p:spPr>
            <a:xfrm>
              <a:off x="8651953" y="3738687"/>
              <a:ext cx="170721" cy="99808"/>
            </a:xfrm>
            <a:custGeom>
              <a:avLst/>
              <a:gdLst/>
              <a:ahLst/>
              <a:cxnLst/>
              <a:rect l="l" t="t" r="r" b="b"/>
              <a:pathLst>
                <a:path w="18776" h="10977" extrusionOk="0">
                  <a:moveTo>
                    <a:pt x="707" y="0"/>
                  </a:moveTo>
                  <a:lnTo>
                    <a:pt x="0" y="10977"/>
                  </a:lnTo>
                  <a:lnTo>
                    <a:pt x="18776" y="4360"/>
                  </a:lnTo>
                  <a:lnTo>
                    <a:pt x="70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8" name="Google Shape;5694;p70">
            <a:extLst>
              <a:ext uri="{FF2B5EF4-FFF2-40B4-BE49-F238E27FC236}">
                <a16:creationId xmlns:a16="http://schemas.microsoft.com/office/drawing/2014/main" id="{5AAD0119-4506-4914-B0A6-99FA481DA91A}"/>
              </a:ext>
            </a:extLst>
          </p:cNvPr>
          <p:cNvSpPr/>
          <p:nvPr/>
        </p:nvSpPr>
        <p:spPr>
          <a:xfrm>
            <a:off x="11662998" y="3307283"/>
            <a:ext cx="295615" cy="383738"/>
          </a:xfrm>
          <a:custGeom>
            <a:avLst/>
            <a:gdLst/>
            <a:ahLst/>
            <a:cxnLst/>
            <a:rect l="l" t="t" r="r" b="b"/>
            <a:pathLst>
              <a:path w="2810" h="3648" extrusionOk="0">
                <a:moveTo>
                  <a:pt x="1365" y="241"/>
                </a:moveTo>
                <a:cubicBezTo>
                  <a:pt x="1630" y="241"/>
                  <a:pt x="1899" y="338"/>
                  <a:pt x="2120" y="555"/>
                </a:cubicBezTo>
                <a:cubicBezTo>
                  <a:pt x="2810" y="1245"/>
                  <a:pt x="2329" y="2416"/>
                  <a:pt x="1356" y="2416"/>
                </a:cubicBezTo>
                <a:cubicBezTo>
                  <a:pt x="764" y="2416"/>
                  <a:pt x="272" y="1935"/>
                  <a:pt x="272" y="1344"/>
                </a:cubicBezTo>
                <a:cubicBezTo>
                  <a:pt x="263" y="681"/>
                  <a:pt x="802" y="241"/>
                  <a:pt x="1365" y="241"/>
                </a:cubicBezTo>
                <a:close/>
                <a:moveTo>
                  <a:pt x="1356" y="1"/>
                </a:moveTo>
                <a:cubicBezTo>
                  <a:pt x="604" y="1"/>
                  <a:pt x="0" y="604"/>
                  <a:pt x="0" y="1356"/>
                </a:cubicBezTo>
                <a:cubicBezTo>
                  <a:pt x="0" y="2391"/>
                  <a:pt x="1183" y="3512"/>
                  <a:pt x="1331" y="3648"/>
                </a:cubicBezTo>
                <a:lnTo>
                  <a:pt x="1368" y="3648"/>
                </a:lnTo>
                <a:cubicBezTo>
                  <a:pt x="1528" y="3512"/>
                  <a:pt x="2711" y="2453"/>
                  <a:pt x="2711" y="1356"/>
                </a:cubicBezTo>
                <a:cubicBezTo>
                  <a:pt x="2711" y="604"/>
                  <a:pt x="2095" y="1"/>
                  <a:pt x="1356" y="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9" name="Google Shape;5739;p70">
            <a:extLst>
              <a:ext uri="{FF2B5EF4-FFF2-40B4-BE49-F238E27FC236}">
                <a16:creationId xmlns:a16="http://schemas.microsoft.com/office/drawing/2014/main" id="{602E10B2-B40F-42E2-840F-65B3A943B65E}"/>
              </a:ext>
            </a:extLst>
          </p:cNvPr>
          <p:cNvSpPr/>
          <p:nvPr/>
        </p:nvSpPr>
        <p:spPr>
          <a:xfrm>
            <a:off x="11682081" y="4282772"/>
            <a:ext cx="257447" cy="260150"/>
          </a:xfrm>
          <a:custGeom>
            <a:avLst/>
            <a:gdLst/>
            <a:ahLst/>
            <a:cxnLst/>
            <a:rect l="l" t="t" r="r" b="b"/>
            <a:pathLst>
              <a:path w="194168" h="196207" extrusionOk="0">
                <a:moveTo>
                  <a:pt x="11576" y="0"/>
                </a:moveTo>
                <a:cubicBezTo>
                  <a:pt x="8883" y="0"/>
                  <a:pt x="6181" y="987"/>
                  <a:pt x="4103" y="3065"/>
                </a:cubicBezTo>
                <a:cubicBezTo>
                  <a:pt x="1026" y="5799"/>
                  <a:pt x="1" y="10243"/>
                  <a:pt x="1368" y="14004"/>
                </a:cubicBezTo>
                <a:lnTo>
                  <a:pt x="65293" y="189369"/>
                </a:lnTo>
                <a:cubicBezTo>
                  <a:pt x="67002" y="193471"/>
                  <a:pt x="70762" y="196206"/>
                  <a:pt x="74864" y="196206"/>
                </a:cubicBezTo>
                <a:cubicBezTo>
                  <a:pt x="79308" y="196206"/>
                  <a:pt x="83410" y="193813"/>
                  <a:pt x="85120" y="190053"/>
                </a:cubicBezTo>
                <a:lnTo>
                  <a:pt x="114176" y="124077"/>
                </a:lnTo>
                <a:cubicBezTo>
                  <a:pt x="115202" y="121342"/>
                  <a:pt x="117595" y="119291"/>
                  <a:pt x="119988" y="118266"/>
                </a:cubicBezTo>
                <a:lnTo>
                  <a:pt x="187331" y="92286"/>
                </a:lnTo>
                <a:cubicBezTo>
                  <a:pt x="191433" y="90577"/>
                  <a:pt x="193826" y="86816"/>
                  <a:pt x="193826" y="82714"/>
                </a:cubicBezTo>
                <a:cubicBezTo>
                  <a:pt x="194168" y="78270"/>
                  <a:pt x="191433" y="74510"/>
                  <a:pt x="187673" y="72801"/>
                </a:cubicBezTo>
                <a:lnTo>
                  <a:pt x="15384" y="672"/>
                </a:lnTo>
                <a:cubicBezTo>
                  <a:pt x="14163" y="228"/>
                  <a:pt x="12871" y="0"/>
                  <a:pt x="115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0" name="Google Shape;5740;p70">
            <a:extLst>
              <a:ext uri="{FF2B5EF4-FFF2-40B4-BE49-F238E27FC236}">
                <a16:creationId xmlns:a16="http://schemas.microsoft.com/office/drawing/2014/main" id="{CBAD068B-2037-4848-BBE2-D7AFCB8199C8}"/>
              </a:ext>
            </a:extLst>
          </p:cNvPr>
          <p:cNvSpPr/>
          <p:nvPr/>
        </p:nvSpPr>
        <p:spPr>
          <a:xfrm flipH="1">
            <a:off x="11692113" y="1838003"/>
            <a:ext cx="237384" cy="349327"/>
          </a:xfrm>
          <a:custGeom>
            <a:avLst/>
            <a:gdLst/>
            <a:ahLst/>
            <a:cxnLst/>
            <a:rect l="l" t="t" r="r" b="b"/>
            <a:pathLst>
              <a:path w="133027" h="195758" extrusionOk="0">
                <a:moveTo>
                  <a:pt x="65846" y="26249"/>
                </a:moveTo>
                <a:cubicBezTo>
                  <a:pt x="87201" y="26249"/>
                  <a:pt x="104108" y="43156"/>
                  <a:pt x="104108" y="64511"/>
                </a:cubicBezTo>
                <a:cubicBezTo>
                  <a:pt x="104108" y="85422"/>
                  <a:pt x="87201" y="102328"/>
                  <a:pt x="65846" y="102328"/>
                </a:cubicBezTo>
                <a:cubicBezTo>
                  <a:pt x="44936" y="102328"/>
                  <a:pt x="28029" y="85422"/>
                  <a:pt x="28029" y="64511"/>
                </a:cubicBezTo>
                <a:cubicBezTo>
                  <a:pt x="28029" y="43156"/>
                  <a:pt x="44936" y="26249"/>
                  <a:pt x="65846" y="26249"/>
                </a:cubicBezTo>
                <a:close/>
                <a:moveTo>
                  <a:pt x="66291" y="0"/>
                </a:moveTo>
                <a:cubicBezTo>
                  <a:pt x="29809" y="0"/>
                  <a:pt x="0" y="29809"/>
                  <a:pt x="0" y="66291"/>
                </a:cubicBezTo>
                <a:cubicBezTo>
                  <a:pt x="0" y="84977"/>
                  <a:pt x="18241" y="118345"/>
                  <a:pt x="18241" y="118345"/>
                </a:cubicBezTo>
                <a:lnTo>
                  <a:pt x="64066" y="195758"/>
                </a:lnTo>
                <a:lnTo>
                  <a:pt x="111671" y="119234"/>
                </a:lnTo>
                <a:cubicBezTo>
                  <a:pt x="111671" y="119234"/>
                  <a:pt x="133027" y="87201"/>
                  <a:pt x="133027" y="66291"/>
                </a:cubicBezTo>
                <a:cubicBezTo>
                  <a:pt x="133027" y="29809"/>
                  <a:pt x="103218" y="0"/>
                  <a:pt x="66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11089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29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92</TotalTime>
  <Words>58</Words>
  <Application>Microsoft Office PowerPoint</Application>
  <PresentationFormat>Widescreen</PresentationFormat>
  <Paragraphs>52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Map United States of America US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392</cp:revision>
  <dcterms:created xsi:type="dcterms:W3CDTF">2020-11-27T23:09:27Z</dcterms:created>
  <dcterms:modified xsi:type="dcterms:W3CDTF">2021-04-04T08:0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